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318" r:id="rId2"/>
    <p:sldId id="315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FBFB"/>
    <a:srgbClr val="E8E8E8"/>
    <a:srgbClr val="F0F0F0"/>
    <a:srgbClr val="57B7F7"/>
    <a:srgbClr val="F97141"/>
    <a:srgbClr val="4D4D4D"/>
    <a:srgbClr val="2B2B2B"/>
    <a:srgbClr val="202020"/>
    <a:srgbClr val="00CD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C675CF-CF3E-368A-AFD9-963AB8AAC26A}" v="3" dt="2022-05-05T13:59:03.841"/>
    <p1510:client id="{11FBF530-F02E-2F47-A80A-F3DB6C506DD7}" v="56" dt="2022-05-05T09:05:57.193"/>
    <p1510:client id="{F323D9B1-0267-415B-88F4-43D82D9C9899}" v="1" dt="2022-05-04T11:09:24.8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823"/>
    <p:restoredTop sz="94720"/>
  </p:normalViewPr>
  <p:slideViewPr>
    <p:cSldViewPr snapToGrid="0">
      <p:cViewPr varScale="1">
        <p:scale>
          <a:sx n="148" d="100"/>
          <a:sy n="148" d="100"/>
        </p:scale>
        <p:origin x="216" y="15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777712-28EA-4A50-B14C-28B073BAED23}" type="datetimeFigureOut">
              <a:rPr lang="en-US" smtClean="0"/>
              <a:t>8/3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991FE5-0DBB-4047-B320-0344D7E29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9914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4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1C4ADB70-A64E-4108-8EB1-C0DF6706F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684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1C4ADB70-A64E-4108-8EB1-C0DF6706F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4A85BD85-10A6-4F04-AD77-9D30AD1B18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CAC5482-D58C-4587-BDEC-6E39BCA23A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19436" y="1743968"/>
            <a:ext cx="1416050" cy="4117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F544A6-0CFD-41D3-BD57-174702705D94}"/>
              </a:ext>
            </a:extLst>
          </p:cNvPr>
          <p:cNvCxnSpPr>
            <a:cxnSpLocks/>
          </p:cNvCxnSpPr>
          <p:nvPr userDrawn="1"/>
        </p:nvCxnSpPr>
        <p:spPr>
          <a:xfrm>
            <a:off x="1056655" y="3256322"/>
            <a:ext cx="705556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7B2A44F2-B8C0-4C6E-90F7-15E6B167CDBF}"/>
              </a:ext>
            </a:extLst>
          </p:cNvPr>
          <p:cNvGrpSpPr/>
          <p:nvPr userDrawn="1"/>
        </p:nvGrpSpPr>
        <p:grpSpPr>
          <a:xfrm>
            <a:off x="7932204" y="3084872"/>
            <a:ext cx="171450" cy="171450"/>
            <a:chOff x="7270750" y="3084872"/>
            <a:chExt cx="171450" cy="17145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2EBBAFB-A2FC-4180-BD86-6FD045C4F1C0}"/>
                </a:ext>
              </a:extLst>
            </p:cNvPr>
            <p:cNvSpPr/>
            <p:nvPr userDrawn="1"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Shape 36" descr="Shape 2541">
              <a:extLst>
                <a:ext uri="{FF2B5EF4-FFF2-40B4-BE49-F238E27FC236}">
                  <a16:creationId xmlns:a16="http://schemas.microsoft.com/office/drawing/2014/main" id="{A8ED0988-809F-4E30-A792-4A1EB1DB8185}"/>
                </a:ext>
              </a:extLst>
            </p:cNvPr>
            <p:cNvSpPr/>
            <p:nvPr userDrawn="1"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tx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DB79FCD-B211-4217-92EB-C20633517C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440" y="3537012"/>
            <a:ext cx="10584000" cy="981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>
            <a:lvl1pPr>
              <a:defRPr lang="en-US" sz="7200" dirty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02F319-831F-47F5-915A-145C79D7C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440" y="4689140"/>
            <a:ext cx="1058400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indent="0">
              <a:buNone/>
              <a:defRPr lang="en-US" sz="2400" dirty="0">
                <a:solidFill>
                  <a:schemeClr val="lt1"/>
                </a:solidFill>
                <a:latin typeface="+mj-lt"/>
              </a:defRPr>
            </a:lvl1pPr>
          </a:lstStyle>
          <a:p>
            <a:pPr marL="0" lvl="0"/>
            <a:endParaRPr lang="en-US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E06DD6E7-4F26-4B62-A1BE-44ACE248FD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0450" y="2848322"/>
            <a:ext cx="6191250" cy="3238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buNone/>
              <a:defRPr lang="en-US" sz="1100" smtClean="0">
                <a:solidFill>
                  <a:schemeClr val="lt1"/>
                </a:solidFill>
                <a:latin typeface="Space Mono" panose="02000509040000020004" pitchFamily="49" charset="-18"/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640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942159D0-F4BA-4115-988B-CA47176B38CA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095E727C-3912-4F4D-BDA6-85368B38BC4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550863" y="1773238"/>
            <a:ext cx="11090275" cy="431958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507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942159D0-F4BA-4115-988B-CA47176B38CA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9480D579-A5AA-4230-931C-00B8768F88F5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52616" y="1772816"/>
            <a:ext cx="11088000" cy="431958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057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942159D0-F4BA-4115-988B-CA47176B38CA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095E727C-3912-4F4D-BDA6-85368B38BC4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550863" y="1773238"/>
            <a:ext cx="7273329" cy="4319587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F748599-9682-4B84-8123-5DC49CC025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48227" y="1773238"/>
            <a:ext cx="3491795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805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133" userDrawn="1">
          <p15:clr>
            <a:srgbClr val="FBAE40"/>
          </p15:clr>
        </p15:guide>
        <p15:guide id="3" pos="492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conten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01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773238"/>
            <a:ext cx="11090275" cy="4319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bg1"/>
                </a:solidFill>
                <a:latin typeface="Space Mono" panose="02000509040000020004" pitchFamily="49" charset="-18"/>
              </a:defRPr>
            </a:lvl1pPr>
          </a:lstStyle>
          <a:p>
            <a:fld id="{D030670E-5FD8-4458-94DC-F78B6635D0A6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bg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0B1F411-67CD-4E37-A9E1-47C679CBA9CC}"/>
              </a:ext>
            </a:extLst>
          </p:cNvPr>
          <p:cNvCxnSpPr>
            <a:cxnSpLocks/>
          </p:cNvCxnSpPr>
          <p:nvPr userDrawn="1"/>
        </p:nvCxnSpPr>
        <p:spPr>
          <a:xfrm>
            <a:off x="552616" y="584684"/>
            <a:ext cx="1108800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49ACF94-468D-425A-B701-786A6FBE2FDA}"/>
              </a:ext>
            </a:extLst>
          </p:cNvPr>
          <p:cNvCxnSpPr>
            <a:cxnSpLocks/>
          </p:cNvCxnSpPr>
          <p:nvPr userDrawn="1"/>
        </p:nvCxnSpPr>
        <p:spPr>
          <a:xfrm>
            <a:off x="552616" y="6273316"/>
            <a:ext cx="1108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79FFFB4C-A630-4237-B5F4-9D3E8077D3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538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 i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1773238"/>
            <a:ext cx="5328000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F3F5802F-F03F-40CF-A5D9-481C066C16F7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CEF02976-D4C0-4314-BA1F-6BB5F7923D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2023" y="1773238"/>
            <a:ext cx="5328000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7168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  <p15:guide id="3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1773239"/>
            <a:ext cx="11090276" cy="201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D89D8935-331F-46B8-9D3E-51FB689E4D1E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AB953F7-4AA2-4DDA-B04A-06329C70AB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4077296"/>
            <a:ext cx="11090276" cy="201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2185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387">
          <p15:clr>
            <a:srgbClr val="FBAE40"/>
          </p15:clr>
        </p15:guide>
        <p15:guide id="4" orient="horz" pos="2568">
          <p15:clr>
            <a:srgbClr val="FBAE40"/>
          </p15:clr>
        </p15:guide>
        <p15:guide id="5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 i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768" y="1773238"/>
            <a:ext cx="3492000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B7321C6C-154D-4533-B32D-5EFF94313459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B869703-6B23-4BEA-B93A-D1FCBF4D0B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7998" y="1773238"/>
            <a:ext cx="3456000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0A0F293-8D81-4332-B24A-70CB9005FA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48228" y="1773238"/>
            <a:ext cx="3492000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3904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4929" userDrawn="1">
          <p15:clr>
            <a:srgbClr val="FBAE40"/>
          </p15:clr>
        </p15:guide>
        <p15:guide id="3" pos="2547" userDrawn="1">
          <p15:clr>
            <a:srgbClr val="FBAE40"/>
          </p15:clr>
        </p15:guide>
        <p15:guide id="4" pos="5133" userDrawn="1">
          <p15:clr>
            <a:srgbClr val="FBAE40"/>
          </p15:clr>
        </p15:guide>
        <p15:guide id="5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 i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1773239"/>
            <a:ext cx="5328000" cy="201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375C112F-F9F4-46AC-B905-2AC6DB8024BB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CEF02976-D4C0-4314-BA1F-6BB5F7923D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2023" y="1773239"/>
            <a:ext cx="5328000" cy="201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AB953F7-4AA2-4DDA-B04A-06329C70AB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4077296"/>
            <a:ext cx="5328000" cy="201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A19DEF4-A6ED-4590-AA1E-CFA5C65080C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2023" y="4077296"/>
            <a:ext cx="5328000" cy="201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0792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  <p15:guide id="3" orient="horz" pos="2387" userDrawn="1">
          <p15:clr>
            <a:srgbClr val="FBAE40"/>
          </p15:clr>
        </p15:guide>
        <p15:guide id="4" orient="horz" pos="2568" userDrawn="1">
          <p15:clr>
            <a:srgbClr val="FBAE40"/>
          </p15:clr>
        </p15:guide>
        <p15:guide id="5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768" y="3573016"/>
            <a:ext cx="3492000" cy="252028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CF217544-4CDB-4C3D-8C04-21D4596DBA76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B869703-6B23-4BEA-B93A-D1FCBF4D0B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7998" y="3573016"/>
            <a:ext cx="3456000" cy="252028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0A0F293-8D81-4332-B24A-70CB9005FA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48228" y="3573016"/>
            <a:ext cx="3492000" cy="252028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60F8CB-EB9A-4F53-B96D-5226302C3AC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937768" y="2565400"/>
            <a:ext cx="720000" cy="7200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3D57A66-A398-47A0-AF20-F6391B51D6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35998" y="2565400"/>
            <a:ext cx="720000" cy="72000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D56EFBE2-6031-4176-9368-35550D18799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34228" y="2565400"/>
            <a:ext cx="720000" cy="720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691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4929" userDrawn="1">
          <p15:clr>
            <a:srgbClr val="FBAE40"/>
          </p15:clr>
        </p15:guide>
        <p15:guide id="3" pos="2547" userDrawn="1">
          <p15:clr>
            <a:srgbClr val="FBAE40"/>
          </p15:clr>
        </p15:guide>
        <p15:guide id="4" pos="5133" userDrawn="1">
          <p15:clr>
            <a:srgbClr val="FBAE40"/>
          </p15:clr>
        </p15:guide>
        <p15:guide id="5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63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D8C6B28-8E9D-4E37-B771-6CF02A44F2A1}"/>
              </a:ext>
            </a:extLst>
          </p:cNvPr>
          <p:cNvSpPr/>
          <p:nvPr userDrawn="1"/>
        </p:nvSpPr>
        <p:spPr>
          <a:xfrm>
            <a:off x="0" y="1773238"/>
            <a:ext cx="6084000" cy="50847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2204864"/>
            <a:ext cx="5040313" cy="3744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bg1"/>
                </a:solidFill>
                <a:latin typeface="Space Mono" panose="02000509040000020004" pitchFamily="49" charset="-18"/>
              </a:defRPr>
            </a:lvl1pPr>
          </a:lstStyle>
          <a:p>
            <a:fld id="{77DA780F-117E-41FA-9F9D-0C9B26B5C9FC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bg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CEF02976-D4C0-4314-BA1F-6BB5F7923D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0055" y="2204864"/>
            <a:ext cx="5039967" cy="37444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BA4AAC-9A7C-40BA-8D56-090D90486351}"/>
              </a:ext>
            </a:extLst>
          </p:cNvPr>
          <p:cNvCxnSpPr>
            <a:cxnSpLocks/>
          </p:cNvCxnSpPr>
          <p:nvPr userDrawn="1"/>
        </p:nvCxnSpPr>
        <p:spPr>
          <a:xfrm>
            <a:off x="6600825" y="1772816"/>
            <a:ext cx="50403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C715AF-FBB1-4589-B9A6-104C9A0C653B}"/>
              </a:ext>
            </a:extLst>
          </p:cNvPr>
          <p:cNvCxnSpPr>
            <a:cxnSpLocks/>
          </p:cNvCxnSpPr>
          <p:nvPr userDrawn="1"/>
        </p:nvCxnSpPr>
        <p:spPr>
          <a:xfrm>
            <a:off x="552616" y="6273316"/>
            <a:ext cx="554338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296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22" userDrawn="1">
          <p15:clr>
            <a:srgbClr val="FBAE40"/>
          </p15:clr>
        </p15:guide>
        <p15:guide id="2" pos="4158" userDrawn="1">
          <p15:clr>
            <a:srgbClr val="FBAE40"/>
          </p15:clr>
        </p15:guide>
        <p15:guide id="3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1C4ADB70-A64E-4108-8EB1-C0DF6706F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186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1C4ADB70-A64E-4108-8EB1-C0DF6706F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4A85BD85-10A6-4F04-AD77-9D30AD1B18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CAC5482-D58C-4587-BDEC-6E39BCA23A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19436" y="772393"/>
            <a:ext cx="1416050" cy="4117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0F544A6-0CFD-41D3-BD57-174702705D94}"/>
              </a:ext>
            </a:extLst>
          </p:cNvPr>
          <p:cNvCxnSpPr>
            <a:cxnSpLocks/>
          </p:cNvCxnSpPr>
          <p:nvPr userDrawn="1"/>
        </p:nvCxnSpPr>
        <p:spPr>
          <a:xfrm>
            <a:off x="1060450" y="2104194"/>
            <a:ext cx="63817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B2EBBAFB-A2FC-4180-BD86-6FD045C4F1C0}"/>
              </a:ext>
            </a:extLst>
          </p:cNvPr>
          <p:cNvSpPr/>
          <p:nvPr userDrawn="1"/>
        </p:nvSpPr>
        <p:spPr>
          <a:xfrm>
            <a:off x="7270750" y="1932744"/>
            <a:ext cx="171450" cy="17145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Shape 36" descr="Shape 2541">
            <a:extLst>
              <a:ext uri="{FF2B5EF4-FFF2-40B4-BE49-F238E27FC236}">
                <a16:creationId xmlns:a16="http://schemas.microsoft.com/office/drawing/2014/main" id="{A8ED0988-809F-4E30-A792-4A1EB1DB8185}"/>
              </a:ext>
            </a:extLst>
          </p:cNvPr>
          <p:cNvSpPr/>
          <p:nvPr userDrawn="1"/>
        </p:nvSpPr>
        <p:spPr>
          <a:xfrm>
            <a:off x="7306776" y="1968770"/>
            <a:ext cx="99398" cy="993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7145" rIns="17145" anchor="ctr"/>
          <a:lstStyle/>
          <a:p>
            <a:pPr defTabSz="171398">
              <a:defRPr sz="29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088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B79FCD-B211-4217-92EB-C20633517C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440" y="2384884"/>
            <a:ext cx="10584000" cy="79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>
            <a:lvl1pPr>
              <a:defRPr lang="en-US" sz="6000" dirty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02F319-831F-47F5-915A-145C79D7C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440" y="3320455"/>
            <a:ext cx="1058400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indent="0">
              <a:buNone/>
              <a:defRPr lang="en-US" sz="1800" dirty="0">
                <a:solidFill>
                  <a:schemeClr val="lt1"/>
                </a:solidFill>
                <a:latin typeface="+mj-lt"/>
              </a:defRPr>
            </a:lvl1pPr>
          </a:lstStyle>
          <a:p>
            <a:pPr marL="0" lvl="0"/>
            <a:endParaRPr lang="en-US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E06DD6E7-4F26-4B62-A1BE-44ACE248FD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0450" y="1696194"/>
            <a:ext cx="6191250" cy="3238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buNone/>
              <a:defRPr lang="en-US" sz="1100" smtClean="0">
                <a:solidFill>
                  <a:schemeClr val="lt1"/>
                </a:solidFill>
                <a:latin typeface="Space Mono" panose="02000509040000020004" pitchFamily="49" charset="-18"/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marL="0" lvl="0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9CCBAC5-060B-4165-8446-88E51D4B6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lum bright="70000" contrast="-70000"/>
            <a:alphaModFix amt="5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5593" b="25850"/>
          <a:stretch/>
        </p:blipFill>
        <p:spPr>
          <a:xfrm>
            <a:off x="-2494" y="4213780"/>
            <a:ext cx="12194493" cy="2644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148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left)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7911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9574" y="3356993"/>
            <a:ext cx="4681042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1C1CEE50-9118-487F-9037-DC4DF2BE1E64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9574" y="2276872"/>
            <a:ext cx="4679288" cy="792000"/>
          </a:xfrm>
        </p:spPr>
        <p:txBody>
          <a:bodyPr vert="horz"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7DF94F-82A6-45CC-8472-4E7A9EE8E2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765175"/>
            <a:ext cx="5832000" cy="53276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405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21" userDrawn="1">
          <p15:clr>
            <a:srgbClr val="FBAE40"/>
          </p15:clr>
        </p15:guide>
        <p15:guide id="2" pos="4384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right)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7573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384" y="3356993"/>
            <a:ext cx="4681042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CA9DC1CD-91EA-4A2E-AFC9-27B6B0314AED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2276872"/>
            <a:ext cx="4679288" cy="792000"/>
          </a:xfrm>
        </p:spPr>
        <p:txBody>
          <a:bodyPr vert="horz"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7DF94F-82A6-45CC-8472-4E7A9EE8E2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08616" y="765175"/>
            <a:ext cx="5832000" cy="53276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002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96" userDrawn="1">
          <p15:clr>
            <a:srgbClr val="FBAE40"/>
          </p15:clr>
        </p15:guide>
        <p15:guide id="2" pos="365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218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36474B71-04C1-4AEF-AD7E-5CDC4BA1259B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7DF94F-82A6-45CC-8472-4E7A9EE8E2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0863" y="1773237"/>
            <a:ext cx="11089753" cy="4319587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15">
            <a:extLst>
              <a:ext uri="{FF2B5EF4-FFF2-40B4-BE49-F238E27FC236}">
                <a16:creationId xmlns:a16="http://schemas.microsoft.com/office/drawing/2014/main" id="{DA1B2B11-8460-455D-9E92-3FB72B372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764792"/>
            <a:ext cx="1108800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603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325CCE3-2BA6-4763-849B-F2ED09FB1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105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325CCE3-2BA6-4763-849B-F2ED09FB1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DAFDC11-7878-458A-B48C-0D26FC3A8E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4D98CD3-6A8C-409E-B531-4F1071033AB5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7A9CEE-F685-4212-980F-12173078A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72C4-C7B9-403E-80F5-0C9FF135D3EE}" type="datetime1">
              <a:rPr lang="en-US" smtClean="0"/>
              <a:t>8/3/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3211BD-7C56-4262-9F19-FB1BE95FDD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BA7112-A8DE-40C9-AB7B-C623C779C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204" y="2492896"/>
            <a:ext cx="6120000" cy="2160000"/>
          </a:xfrm>
        </p:spPr>
        <p:txBody>
          <a:bodyPr vert="horz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12" name="Graphic 7">
            <a:extLst>
              <a:ext uri="{FF2B5EF4-FFF2-40B4-BE49-F238E27FC236}">
                <a16:creationId xmlns:a16="http://schemas.microsoft.com/office/drawing/2014/main" id="{A78141A1-EED7-46B1-9AE8-B05E1A447474}"/>
              </a:ext>
            </a:extLst>
          </p:cNvPr>
          <p:cNvGrpSpPr/>
          <p:nvPr userDrawn="1"/>
        </p:nvGrpSpPr>
        <p:grpSpPr>
          <a:xfrm>
            <a:off x="535311" y="2384884"/>
            <a:ext cx="955524" cy="843418"/>
            <a:chOff x="657323" y="4259514"/>
            <a:chExt cx="1268808" cy="1119947"/>
          </a:xfrm>
          <a:noFill/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0787BE5-66E9-46C5-A98F-197CFD2CAAC3}"/>
                </a:ext>
              </a:extLst>
            </p:cNvPr>
            <p:cNvSpPr/>
            <p:nvPr/>
          </p:nvSpPr>
          <p:spPr>
            <a:xfrm>
              <a:off x="1381103" y="4259514"/>
              <a:ext cx="545028" cy="1119947"/>
            </a:xfrm>
            <a:custGeom>
              <a:avLst/>
              <a:gdLst>
                <a:gd name="connsiteX0" fmla="*/ 479964 w 545028"/>
                <a:gd name="connsiteY0" fmla="*/ 0 h 1119947"/>
                <a:gd name="connsiteX1" fmla="*/ 84371 w 545028"/>
                <a:gd name="connsiteY1" fmla="*/ 0 h 1119947"/>
                <a:gd name="connsiteX2" fmla="*/ 19306 w 545028"/>
                <a:gd name="connsiteY2" fmla="*/ 65065 h 1119947"/>
                <a:gd name="connsiteX3" fmla="*/ 19306 w 545028"/>
                <a:gd name="connsiteY3" fmla="*/ 460657 h 1119947"/>
                <a:gd name="connsiteX4" fmla="*/ 84371 w 545028"/>
                <a:gd name="connsiteY4" fmla="*/ 525722 h 1119947"/>
                <a:gd name="connsiteX5" fmla="*/ 273709 w 545028"/>
                <a:gd name="connsiteY5" fmla="*/ 525722 h 1119947"/>
                <a:gd name="connsiteX6" fmla="*/ 201617 w 545028"/>
                <a:gd name="connsiteY6" fmla="*/ 774529 h 1119947"/>
                <a:gd name="connsiteX7" fmla="*/ 38565 w 545028"/>
                <a:gd name="connsiteY7" fmla="*/ 896590 h 1119947"/>
                <a:gd name="connsiteX8" fmla="*/ 6293 w 545028"/>
                <a:gd name="connsiteY8" fmla="*/ 983908 h 1119947"/>
                <a:gd name="connsiteX9" fmla="*/ 53140 w 545028"/>
                <a:gd name="connsiteY9" fmla="*/ 1082807 h 1119947"/>
                <a:gd name="connsiteX10" fmla="*/ 137854 w 545028"/>
                <a:gd name="connsiteY10" fmla="*/ 1114557 h 1119947"/>
                <a:gd name="connsiteX11" fmla="*/ 356081 w 545028"/>
                <a:gd name="connsiteY11" fmla="*/ 972976 h 1119947"/>
                <a:gd name="connsiteX12" fmla="*/ 504818 w 545028"/>
                <a:gd name="connsiteY12" fmla="*/ 736271 h 1119947"/>
                <a:gd name="connsiteX13" fmla="*/ 545028 w 545028"/>
                <a:gd name="connsiteY13" fmla="*/ 376073 h 1119947"/>
                <a:gd name="connsiteX14" fmla="*/ 545028 w 545028"/>
                <a:gd name="connsiteY14" fmla="*/ 65065 h 1119947"/>
                <a:gd name="connsiteX15" fmla="*/ 479964 w 545028"/>
                <a:gd name="connsiteY15" fmla="*/ 0 h 111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45028" h="1119947">
                  <a:moveTo>
                    <a:pt x="479964" y="0"/>
                  </a:moveTo>
                  <a:lnTo>
                    <a:pt x="84371" y="0"/>
                  </a:lnTo>
                  <a:cubicBezTo>
                    <a:pt x="48455" y="0"/>
                    <a:pt x="19306" y="29149"/>
                    <a:pt x="19306" y="65065"/>
                  </a:cubicBezTo>
                  <a:lnTo>
                    <a:pt x="19306" y="460657"/>
                  </a:lnTo>
                  <a:cubicBezTo>
                    <a:pt x="19306" y="496574"/>
                    <a:pt x="48455" y="525722"/>
                    <a:pt x="84371" y="525722"/>
                  </a:cubicBezTo>
                  <a:lnTo>
                    <a:pt x="273709" y="525722"/>
                  </a:lnTo>
                  <a:cubicBezTo>
                    <a:pt x="271236" y="629306"/>
                    <a:pt x="247162" y="712197"/>
                    <a:pt x="201617" y="774529"/>
                  </a:cubicBezTo>
                  <a:cubicBezTo>
                    <a:pt x="165702" y="823718"/>
                    <a:pt x="111309" y="864449"/>
                    <a:pt x="38565" y="896590"/>
                  </a:cubicBezTo>
                  <a:cubicBezTo>
                    <a:pt x="5122" y="911295"/>
                    <a:pt x="-9322" y="950854"/>
                    <a:pt x="6293" y="983908"/>
                  </a:cubicBezTo>
                  <a:lnTo>
                    <a:pt x="53140" y="1082807"/>
                  </a:lnTo>
                  <a:cubicBezTo>
                    <a:pt x="68235" y="1114557"/>
                    <a:pt x="105582" y="1128482"/>
                    <a:pt x="137854" y="1114557"/>
                  </a:cubicBezTo>
                  <a:cubicBezTo>
                    <a:pt x="223999" y="1077340"/>
                    <a:pt x="296743" y="1030233"/>
                    <a:pt x="356081" y="972976"/>
                  </a:cubicBezTo>
                  <a:cubicBezTo>
                    <a:pt x="428434" y="903097"/>
                    <a:pt x="478012" y="824239"/>
                    <a:pt x="504818" y="736271"/>
                  </a:cubicBezTo>
                  <a:cubicBezTo>
                    <a:pt x="531626" y="648304"/>
                    <a:pt x="545028" y="528325"/>
                    <a:pt x="545028" y="376073"/>
                  </a:cubicBezTo>
                  <a:lnTo>
                    <a:pt x="545028" y="65065"/>
                  </a:lnTo>
                  <a:cubicBezTo>
                    <a:pt x="545028" y="29150"/>
                    <a:pt x="515878" y="0"/>
                    <a:pt x="479964" y="0"/>
                  </a:cubicBezTo>
                  <a:close/>
                </a:path>
              </a:pathLst>
            </a:custGeom>
            <a:grpFill/>
            <a:ln w="129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29091E4-878D-4038-B5DE-3B14644D0ABC}"/>
                </a:ext>
              </a:extLst>
            </p:cNvPr>
            <p:cNvSpPr/>
            <p:nvPr/>
          </p:nvSpPr>
          <p:spPr>
            <a:xfrm>
              <a:off x="657323" y="4259514"/>
              <a:ext cx="545028" cy="1119742"/>
            </a:xfrm>
            <a:custGeom>
              <a:avLst/>
              <a:gdLst>
                <a:gd name="connsiteX0" fmla="*/ 137985 w 545028"/>
                <a:gd name="connsiteY0" fmla="*/ 1114297 h 1119742"/>
                <a:gd name="connsiteX1" fmla="*/ 355171 w 545028"/>
                <a:gd name="connsiteY1" fmla="*/ 972976 h 1119742"/>
                <a:gd name="connsiteX2" fmla="*/ 504820 w 545028"/>
                <a:gd name="connsiteY2" fmla="*/ 737182 h 1119742"/>
                <a:gd name="connsiteX3" fmla="*/ 545028 w 545028"/>
                <a:gd name="connsiteY3" fmla="*/ 376073 h 1119742"/>
                <a:gd name="connsiteX4" fmla="*/ 545028 w 545028"/>
                <a:gd name="connsiteY4" fmla="*/ 65065 h 1119742"/>
                <a:gd name="connsiteX5" fmla="*/ 479964 w 545028"/>
                <a:gd name="connsiteY5" fmla="*/ 0 h 1119742"/>
                <a:gd name="connsiteX6" fmla="*/ 84371 w 545028"/>
                <a:gd name="connsiteY6" fmla="*/ 0 h 1119742"/>
                <a:gd name="connsiteX7" fmla="*/ 19306 w 545028"/>
                <a:gd name="connsiteY7" fmla="*/ 65065 h 1119742"/>
                <a:gd name="connsiteX8" fmla="*/ 19306 w 545028"/>
                <a:gd name="connsiteY8" fmla="*/ 460657 h 1119742"/>
                <a:gd name="connsiteX9" fmla="*/ 84371 w 545028"/>
                <a:gd name="connsiteY9" fmla="*/ 525722 h 1119742"/>
                <a:gd name="connsiteX10" fmla="*/ 273709 w 545028"/>
                <a:gd name="connsiteY10" fmla="*/ 525722 h 1119742"/>
                <a:gd name="connsiteX11" fmla="*/ 201617 w 545028"/>
                <a:gd name="connsiteY11" fmla="*/ 774529 h 1119742"/>
                <a:gd name="connsiteX12" fmla="*/ 38565 w 545028"/>
                <a:gd name="connsiteY12" fmla="*/ 896590 h 1119742"/>
                <a:gd name="connsiteX13" fmla="*/ 6293 w 545028"/>
                <a:gd name="connsiteY13" fmla="*/ 983908 h 1119742"/>
                <a:gd name="connsiteX14" fmla="*/ 53010 w 545028"/>
                <a:gd name="connsiteY14" fmla="*/ 1082546 h 1119742"/>
                <a:gd name="connsiteX15" fmla="*/ 137985 w 545028"/>
                <a:gd name="connsiteY15" fmla="*/ 1114297 h 1119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45028" h="1119742">
                  <a:moveTo>
                    <a:pt x="137985" y="1114297"/>
                  </a:moveTo>
                  <a:cubicBezTo>
                    <a:pt x="223090" y="1077210"/>
                    <a:pt x="295442" y="1030104"/>
                    <a:pt x="355171" y="972976"/>
                  </a:cubicBezTo>
                  <a:cubicBezTo>
                    <a:pt x="428173" y="903097"/>
                    <a:pt x="478013" y="824499"/>
                    <a:pt x="504820" y="737182"/>
                  </a:cubicBezTo>
                  <a:cubicBezTo>
                    <a:pt x="531626" y="649865"/>
                    <a:pt x="545028" y="529496"/>
                    <a:pt x="545028" y="376073"/>
                  </a:cubicBezTo>
                  <a:lnTo>
                    <a:pt x="545028" y="65065"/>
                  </a:lnTo>
                  <a:cubicBezTo>
                    <a:pt x="545028" y="29149"/>
                    <a:pt x="515881" y="0"/>
                    <a:pt x="479964" y="0"/>
                  </a:cubicBezTo>
                  <a:lnTo>
                    <a:pt x="84371" y="0"/>
                  </a:lnTo>
                  <a:cubicBezTo>
                    <a:pt x="48455" y="0"/>
                    <a:pt x="19306" y="29149"/>
                    <a:pt x="19306" y="65065"/>
                  </a:cubicBezTo>
                  <a:lnTo>
                    <a:pt x="19306" y="460657"/>
                  </a:lnTo>
                  <a:cubicBezTo>
                    <a:pt x="19306" y="496574"/>
                    <a:pt x="48455" y="525722"/>
                    <a:pt x="84371" y="525722"/>
                  </a:cubicBezTo>
                  <a:lnTo>
                    <a:pt x="273709" y="525722"/>
                  </a:lnTo>
                  <a:cubicBezTo>
                    <a:pt x="271236" y="629306"/>
                    <a:pt x="247162" y="712197"/>
                    <a:pt x="201617" y="774529"/>
                  </a:cubicBezTo>
                  <a:cubicBezTo>
                    <a:pt x="165701" y="823718"/>
                    <a:pt x="111307" y="864449"/>
                    <a:pt x="38565" y="896590"/>
                  </a:cubicBezTo>
                  <a:cubicBezTo>
                    <a:pt x="5122" y="911295"/>
                    <a:pt x="-9322" y="950854"/>
                    <a:pt x="6293" y="983908"/>
                  </a:cubicBezTo>
                  <a:lnTo>
                    <a:pt x="53010" y="1082546"/>
                  </a:lnTo>
                  <a:cubicBezTo>
                    <a:pt x="68106" y="1114297"/>
                    <a:pt x="105713" y="1128352"/>
                    <a:pt x="137985" y="1114297"/>
                  </a:cubicBezTo>
                  <a:close/>
                </a:path>
              </a:pathLst>
            </a:custGeom>
            <a:grpFill/>
            <a:ln w="129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EFDA227E-5E1F-4E4B-B25F-F42F290B28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12204" y="4869160"/>
            <a:ext cx="6120000" cy="3238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buNone/>
              <a:defRPr lang="en-US" sz="1100" smtClean="0">
                <a:solidFill>
                  <a:schemeClr val="lt1"/>
                </a:solidFill>
                <a:latin typeface="Space Mono" panose="02000509040000020004" pitchFamily="49" charset="-18"/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marL="0" lvl="0"/>
            <a:r>
              <a:rPr lang="pl-PL"/>
              <a:t>Author</a:t>
            </a:r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F6BFCE3-DCE1-45E4-AE02-0043270C9B3A}"/>
              </a:ext>
            </a:extLst>
          </p:cNvPr>
          <p:cNvCxnSpPr>
            <a:cxnSpLocks/>
          </p:cNvCxnSpPr>
          <p:nvPr userDrawn="1"/>
        </p:nvCxnSpPr>
        <p:spPr>
          <a:xfrm>
            <a:off x="1812204" y="4761148"/>
            <a:ext cx="23402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E9BB1616-A263-47B5-8B3B-DDB348F6B50A}"/>
              </a:ext>
            </a:extLst>
          </p:cNvPr>
          <p:cNvSpPr txBox="1">
            <a:spLocks/>
          </p:cNvSpPr>
          <p:nvPr userDrawn="1"/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Space Mono" panose="02000509040000020004" pitchFamily="49" charset="-18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634206-10EC-4B58-A696-3BADD4BA50FA}" type="datetimeFigureOut">
              <a:rPr lang="en-US" smtClean="0"/>
              <a:pPr/>
              <a:t>8/3/25</a:t>
            </a:fld>
            <a:endParaRPr lang="en-US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E3D3112-8BB5-4314-91E8-6A4BC8A8B62E}"/>
              </a:ext>
            </a:extLst>
          </p:cNvPr>
          <p:cNvSpPr txBox="1">
            <a:spLocks/>
          </p:cNvSpPr>
          <p:nvPr userDrawn="1"/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Space Mono" panose="02000509040000020004" pitchFamily="49" charset="-18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B868A1C-B8EA-4937-A099-5B21C93130A3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AA5014-29F6-4C73-BF07-C1888DF99F3C}"/>
              </a:ext>
            </a:extLst>
          </p:cNvPr>
          <p:cNvCxnSpPr>
            <a:cxnSpLocks/>
          </p:cNvCxnSpPr>
          <p:nvPr userDrawn="1"/>
        </p:nvCxnSpPr>
        <p:spPr>
          <a:xfrm>
            <a:off x="552616" y="6273316"/>
            <a:ext cx="1108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7035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70" userDrawn="1">
          <p15:clr>
            <a:srgbClr val="FBAE40"/>
          </p15:clr>
        </p15:guide>
        <p15:guide id="2" pos="114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325CCE3-2BA6-4763-849B-F2ED09FB1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481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325CCE3-2BA6-4763-849B-F2ED09FB1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E63AE161-F134-42D1-ACF0-9ECF476E07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014" t="2852" r="22092" b="285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4D98CD3-6A8C-409E-B531-4F1071033AB5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7A9CEE-F685-4212-980F-12173078A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3E5EA0-AB44-42A7-81C4-1114C364E9D1}" type="datetime1">
              <a:rPr lang="en-US" smtClean="0"/>
              <a:t>8/3/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3211BD-7C56-4262-9F19-FB1BE95FDD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BA7112-A8DE-40C9-AB7B-C623C779C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765175"/>
            <a:ext cx="5401121" cy="5327650"/>
          </a:xfrm>
        </p:spPr>
        <p:txBody>
          <a:bodyPr vert="horz"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AFD2F3D4-C9E8-4982-9738-E49C3A4AAAC6}"/>
              </a:ext>
            </a:extLst>
          </p:cNvPr>
          <p:cNvSpPr txBox="1">
            <a:spLocks/>
          </p:cNvSpPr>
          <p:nvPr userDrawn="1"/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Space Mono" panose="02000509040000020004" pitchFamily="49" charset="-18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634206-10EC-4B58-A696-3BADD4BA50FA}" type="datetimeFigureOut">
              <a:rPr lang="en-US" smtClean="0"/>
              <a:pPr/>
              <a:t>8/3/25</a:t>
            </a:fld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4C3FCCB-1AEF-41F1-BE7B-7F2F14BE406D}"/>
              </a:ext>
            </a:extLst>
          </p:cNvPr>
          <p:cNvSpPr txBox="1">
            <a:spLocks/>
          </p:cNvSpPr>
          <p:nvPr userDrawn="1"/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Space Mono" panose="02000509040000020004" pitchFamily="49" charset="-18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35ECC73-1B31-4D6E-89A4-2839FB140491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1550220-3AAC-4AB5-8ABF-547443B4557A}"/>
              </a:ext>
            </a:extLst>
          </p:cNvPr>
          <p:cNvCxnSpPr>
            <a:cxnSpLocks/>
          </p:cNvCxnSpPr>
          <p:nvPr userDrawn="1"/>
        </p:nvCxnSpPr>
        <p:spPr>
          <a:xfrm>
            <a:off x="552616" y="6273316"/>
            <a:ext cx="1108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5992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on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325CCE3-2BA6-4763-849B-F2ED09FB1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398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325CCE3-2BA6-4763-849B-F2ED09FB1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B3BD40B3-EA2A-4CBD-88D4-DCB5CCC9A5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7A9CEE-F685-4212-980F-12173078A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24DA8-E0D2-4625-B2E8-CB6666CC5FA6}" type="datetime1">
              <a:rPr lang="en-US" smtClean="0"/>
              <a:t>8/3/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3211BD-7C56-4262-9F19-FB1BE95FDD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BA7112-A8DE-40C9-AB7B-C623C779C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765175"/>
            <a:ext cx="5401121" cy="5327650"/>
          </a:xfrm>
        </p:spPr>
        <p:txBody>
          <a:bodyPr vert="horz"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AFD2F3D4-C9E8-4982-9738-E49C3A4AAAC6}"/>
              </a:ext>
            </a:extLst>
          </p:cNvPr>
          <p:cNvSpPr txBox="1">
            <a:spLocks/>
          </p:cNvSpPr>
          <p:nvPr userDrawn="1"/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Space Mono" panose="02000509040000020004" pitchFamily="49" charset="-18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1634206-10EC-4B58-A696-3BADD4BA50FA}" type="datetimeFigureOut">
              <a:rPr lang="en-US" smtClean="0"/>
              <a:pPr/>
              <a:t>8/3/25</a:t>
            </a:fld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4C3FCCB-1AEF-41F1-BE7B-7F2F14BE406D}"/>
              </a:ext>
            </a:extLst>
          </p:cNvPr>
          <p:cNvSpPr txBox="1">
            <a:spLocks/>
          </p:cNvSpPr>
          <p:nvPr userDrawn="1"/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Space Mono" panose="02000509040000020004" pitchFamily="49" charset="-18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35ECC73-1B31-4D6E-89A4-2839FB140491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1550220-3AAC-4AB5-8ABF-547443B4557A}"/>
              </a:ext>
            </a:extLst>
          </p:cNvPr>
          <p:cNvCxnSpPr>
            <a:cxnSpLocks/>
          </p:cNvCxnSpPr>
          <p:nvPr userDrawn="1"/>
        </p:nvCxnSpPr>
        <p:spPr>
          <a:xfrm>
            <a:off x="552616" y="6273316"/>
            <a:ext cx="1108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7098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CF217544-4CDB-4C3D-8C04-21D4596DBA76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60F8CB-EB9A-4F53-B96D-5226302C3AC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0863" y="1844824"/>
            <a:ext cx="864096" cy="86409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2BA8AF4A-6A4D-493D-BE2D-4879372A0A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39516" y="1844625"/>
            <a:ext cx="4139346" cy="19444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4382739-ED78-4A15-9FB5-B2EBFB5AA372}"/>
              </a:ext>
            </a:extLst>
          </p:cNvPr>
          <p:cNvCxnSpPr/>
          <p:nvPr userDrawn="1"/>
        </p:nvCxnSpPr>
        <p:spPr>
          <a:xfrm>
            <a:off x="550863" y="2780928"/>
            <a:ext cx="86461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68C1BF-05DB-4F98-9B9E-C83A4AA08E86}"/>
              </a:ext>
            </a:extLst>
          </p:cNvPr>
          <p:cNvCxnSpPr>
            <a:cxnSpLocks/>
          </p:cNvCxnSpPr>
          <p:nvPr userDrawn="1"/>
        </p:nvCxnSpPr>
        <p:spPr>
          <a:xfrm>
            <a:off x="550863" y="1773238"/>
            <a:ext cx="53291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75226E3-8D4C-4C19-88B5-17A5C8FB544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0863" y="4149080"/>
            <a:ext cx="864096" cy="864096"/>
          </a:xfrm>
        </p:spPr>
        <p:txBody>
          <a:bodyPr/>
          <a:lstStyle/>
          <a:p>
            <a:endParaRPr lang="en-US"/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B0B84317-63F1-41D6-89D3-95482648DB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739516" y="4148881"/>
            <a:ext cx="4139346" cy="19444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E615A17-2AA4-4A38-B05D-B677CB8EBAD3}"/>
              </a:ext>
            </a:extLst>
          </p:cNvPr>
          <p:cNvCxnSpPr/>
          <p:nvPr userDrawn="1"/>
        </p:nvCxnSpPr>
        <p:spPr>
          <a:xfrm>
            <a:off x="550863" y="5085184"/>
            <a:ext cx="86461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70FFFA3-2736-43C7-A39E-5F45909AC915}"/>
              </a:ext>
            </a:extLst>
          </p:cNvPr>
          <p:cNvCxnSpPr>
            <a:cxnSpLocks/>
          </p:cNvCxnSpPr>
          <p:nvPr userDrawn="1"/>
        </p:nvCxnSpPr>
        <p:spPr>
          <a:xfrm>
            <a:off x="550863" y="4077494"/>
            <a:ext cx="53291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9EA956FD-9176-4619-8A16-62C7BB8184B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11503" y="1844824"/>
            <a:ext cx="864096" cy="864096"/>
          </a:xfrm>
        </p:spPr>
        <p:txBody>
          <a:bodyPr/>
          <a:lstStyle/>
          <a:p>
            <a:endParaRPr lang="en-US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F81EE890-836C-4AB7-ABA9-BC2FC12A1DA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00156" y="1844625"/>
            <a:ext cx="4139346" cy="19444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89486A7-1AD3-4017-84D2-1EA81C3906EF}"/>
              </a:ext>
            </a:extLst>
          </p:cNvPr>
          <p:cNvCxnSpPr/>
          <p:nvPr userDrawn="1"/>
        </p:nvCxnSpPr>
        <p:spPr>
          <a:xfrm>
            <a:off x="6311503" y="2780928"/>
            <a:ext cx="86461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B5A9B35-9EF0-489B-B867-4B8AB5979DAC}"/>
              </a:ext>
            </a:extLst>
          </p:cNvPr>
          <p:cNvCxnSpPr>
            <a:cxnSpLocks/>
          </p:cNvCxnSpPr>
          <p:nvPr userDrawn="1"/>
        </p:nvCxnSpPr>
        <p:spPr>
          <a:xfrm>
            <a:off x="6311503" y="1773238"/>
            <a:ext cx="53291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F6F4BC9-A0DB-47B4-B2D6-049730362F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311503" y="4149080"/>
            <a:ext cx="864096" cy="864096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48A53AF1-41F3-44F1-9AD9-B71206F9AC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500156" y="4148881"/>
            <a:ext cx="4139346" cy="19444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AB52840-3B12-42BF-B0A6-854F8F7B9051}"/>
              </a:ext>
            </a:extLst>
          </p:cNvPr>
          <p:cNvCxnSpPr/>
          <p:nvPr userDrawn="1"/>
        </p:nvCxnSpPr>
        <p:spPr>
          <a:xfrm>
            <a:off x="6311503" y="5085184"/>
            <a:ext cx="86461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63D0E68-35DE-456F-84C2-1C2ADB38442C}"/>
              </a:ext>
            </a:extLst>
          </p:cNvPr>
          <p:cNvCxnSpPr>
            <a:cxnSpLocks/>
          </p:cNvCxnSpPr>
          <p:nvPr userDrawn="1"/>
        </p:nvCxnSpPr>
        <p:spPr>
          <a:xfrm>
            <a:off x="6311503" y="4077494"/>
            <a:ext cx="53291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0996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3" pos="1096" userDrawn="1">
          <p15:clr>
            <a:srgbClr val="FBAE40"/>
          </p15:clr>
        </p15:guide>
        <p15:guide id="5" pos="3840">
          <p15:clr>
            <a:srgbClr val="FBAE40"/>
          </p15:clr>
        </p15:guide>
        <p15:guide id="6" pos="3976" userDrawn="1">
          <p15:clr>
            <a:srgbClr val="FBAE40"/>
          </p15:clr>
        </p15:guide>
        <p15:guide id="7" pos="4725" userDrawn="1">
          <p15:clr>
            <a:srgbClr val="FBAE40"/>
          </p15:clr>
        </p15:guide>
        <p15:guide id="8" pos="4520" userDrawn="1">
          <p15:clr>
            <a:srgbClr val="FBAE40"/>
          </p15:clr>
        </p15:guide>
        <p15:guide id="9" pos="89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52184" y="3212977"/>
            <a:ext cx="3888954" cy="2268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37E06A7E-40B5-4266-A7D7-D59283ABCC53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96B9A0A-6B08-419A-93CB-CC930F4BBAAD}"/>
              </a:ext>
            </a:extLst>
          </p:cNvPr>
          <p:cNvGrpSpPr/>
          <p:nvPr userDrawn="1"/>
        </p:nvGrpSpPr>
        <p:grpSpPr>
          <a:xfrm>
            <a:off x="550863" y="1808162"/>
            <a:ext cx="7295592" cy="4141787"/>
            <a:chOff x="550863" y="1808162"/>
            <a:chExt cx="7295592" cy="414178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9C461E0-F230-4889-BDE4-D3827CFF1622}"/>
                </a:ext>
              </a:extLst>
            </p:cNvPr>
            <p:cNvSpPr/>
            <p:nvPr/>
          </p:nvSpPr>
          <p:spPr>
            <a:xfrm>
              <a:off x="1379476" y="1988840"/>
              <a:ext cx="5724636" cy="356439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lang="en-US" sz="1200">
                <a:solidFill>
                  <a:schemeClr val="tx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C5C480-A26A-462A-A1B2-5167BEC13C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863" y="1808162"/>
              <a:ext cx="7295592" cy="4141787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6753EA2-6908-424A-98AB-4F4A88F27BB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520" y="2276872"/>
            <a:ext cx="4791551" cy="3032956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2870B5E-B6E4-48BD-AB99-3750048180DE}"/>
              </a:ext>
            </a:extLst>
          </p:cNvPr>
          <p:cNvCxnSpPr>
            <a:cxnSpLocks/>
          </p:cNvCxnSpPr>
          <p:nvPr userDrawn="1"/>
        </p:nvCxnSpPr>
        <p:spPr>
          <a:xfrm>
            <a:off x="7320136" y="3032956"/>
            <a:ext cx="432100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2739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83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with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296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6CC5C480-A26A-462A-A1B2-5167BEC13C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1808162"/>
            <a:ext cx="7295592" cy="4141787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AE61490E-2D1D-412B-BFC1-5590E8C1932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15480" y="2060848"/>
            <a:ext cx="5616624" cy="3456384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52184" y="3212977"/>
            <a:ext cx="3888954" cy="2268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2AEE6F0F-8432-47C8-ACA0-DC9CB190CCEA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2870B5E-B6E4-48BD-AB99-3750048180DE}"/>
              </a:ext>
            </a:extLst>
          </p:cNvPr>
          <p:cNvCxnSpPr>
            <a:cxnSpLocks/>
          </p:cNvCxnSpPr>
          <p:nvPr userDrawn="1"/>
        </p:nvCxnSpPr>
        <p:spPr>
          <a:xfrm>
            <a:off x="7320136" y="3032956"/>
            <a:ext cx="432100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8874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83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66FAE2-F15E-4C75-ACAC-7203D24957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0774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66FAE2-F15E-4C75-ACAC-7203D2495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5B418D-8D60-49FB-83FC-6F745EAB6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39D10-A341-4814-9450-DE2F7892AAC2}" type="datetime1">
              <a:rPr lang="en-US" smtClean="0"/>
              <a:t>8/3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7659-329A-47E1-8E7F-1C2857A8B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C172B4-E1D0-4313-B009-29F906781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FE8619-3218-4EE7-B7BF-1E209CCD8F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7FDE374-F5E5-475E-8D87-B1EBD507D428}"/>
              </a:ext>
            </a:extLst>
          </p:cNvPr>
          <p:cNvCxnSpPr>
            <a:cxnSpLocks/>
          </p:cNvCxnSpPr>
          <p:nvPr userDrawn="1"/>
        </p:nvCxnSpPr>
        <p:spPr>
          <a:xfrm>
            <a:off x="1060450" y="3612778"/>
            <a:ext cx="65117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74196C5-CE73-4DF7-B93E-40ABDCCC7F6F}"/>
              </a:ext>
            </a:extLst>
          </p:cNvPr>
          <p:cNvGrpSpPr/>
          <p:nvPr userDrawn="1"/>
        </p:nvGrpSpPr>
        <p:grpSpPr>
          <a:xfrm>
            <a:off x="7400714" y="3441328"/>
            <a:ext cx="171450" cy="171450"/>
            <a:chOff x="7270750" y="3084872"/>
            <a:chExt cx="171450" cy="17145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CF72A5-BECA-47EB-9261-E938C7A3B6C9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Shape 36" descr="Shape 2541">
              <a:extLst>
                <a:ext uri="{FF2B5EF4-FFF2-40B4-BE49-F238E27FC236}">
                  <a16:creationId xmlns:a16="http://schemas.microsoft.com/office/drawing/2014/main" id="{60A19697-4369-404B-9A1F-C8AE4A27BDE4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tx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436550AB-3767-484C-A889-D4047D91E9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19436" y="1743968"/>
            <a:ext cx="1416050" cy="41173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3EAB29B8-9E59-4A41-9E2A-0978DA46A6C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3532" y="3789160"/>
            <a:ext cx="5688843" cy="10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>
            <a:lvl1pPr>
              <a:defRPr lang="en-US" sz="6000" dirty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pl-PL"/>
              <a:t>Thanks</a:t>
            </a:r>
            <a:endParaRPr lang="en-US"/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4E6B8C4B-D60F-4CAF-AA17-BBC9674468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688" y="3789160"/>
            <a:ext cx="684212" cy="1080000"/>
          </a:xfrm>
        </p:spPr>
        <p:txBody>
          <a:bodyPr tIns="25200"/>
          <a:lstStyle>
            <a:lvl1pPr>
              <a:defRPr sz="1600" b="1">
                <a:solidFill>
                  <a:schemeClr val="accent1"/>
                </a:solidFill>
                <a:latin typeface="Space Mono" panose="02000509040000020004" pitchFamily="49" charset="-18"/>
              </a:defRPr>
            </a:lvl1pPr>
          </a:lstStyle>
          <a:p>
            <a:pPr lvl="0"/>
            <a:r>
              <a:rPr lang="pl-PL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478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>
          <p15:clr>
            <a:srgbClr val="FBAE40"/>
          </p15:clr>
        </p15:guide>
        <p15:guide id="2" pos="47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66FAE2-F15E-4C75-ACAC-7203D24957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7231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66FAE2-F15E-4C75-ACAC-7203D2495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5B418D-8D60-49FB-83FC-6F745EAB6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39D10-A341-4814-9450-DE2F7892AAC2}" type="datetime1">
              <a:rPr lang="en-US" smtClean="0"/>
              <a:t>8/3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7659-329A-47E1-8E7F-1C2857A8B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C172B4-E1D0-4313-B009-29F906781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FE8619-3218-4EE7-B7BF-1E209CCD8F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A496FA72-560A-4CE4-941E-0E23730D2800}"/>
              </a:ext>
            </a:extLst>
          </p:cNvPr>
          <p:cNvGrpSpPr/>
          <p:nvPr userDrawn="1"/>
        </p:nvGrpSpPr>
        <p:grpSpPr>
          <a:xfrm>
            <a:off x="8112224" y="837159"/>
            <a:ext cx="2669612" cy="5183682"/>
            <a:chOff x="4219003" y="-215212"/>
            <a:chExt cx="3753100" cy="7287530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2A7FF48-E19F-40E7-A078-A218F5BB2AE2}"/>
                </a:ext>
              </a:extLst>
            </p:cNvPr>
            <p:cNvSpPr/>
            <p:nvPr/>
          </p:nvSpPr>
          <p:spPr>
            <a:xfrm>
              <a:off x="5911245" y="2214262"/>
              <a:ext cx="2060858" cy="4858056"/>
            </a:xfrm>
            <a:custGeom>
              <a:avLst/>
              <a:gdLst>
                <a:gd name="connsiteX0" fmla="*/ 180292 w 2060858"/>
                <a:gd name="connsiteY0" fmla="*/ 0 h 4858056"/>
                <a:gd name="connsiteX1" fmla="*/ 0 w 2060858"/>
                <a:gd name="connsiteY1" fmla="*/ 0 h 4858056"/>
                <a:gd name="connsiteX2" fmla="*/ 1884137 w 2060858"/>
                <a:gd name="connsiteY2" fmla="*/ 2429475 h 4858056"/>
                <a:gd name="connsiteX3" fmla="*/ 0 w 2060858"/>
                <a:gd name="connsiteY3" fmla="*/ 4858057 h 4858056"/>
                <a:gd name="connsiteX4" fmla="*/ 180292 w 2060858"/>
                <a:gd name="connsiteY4" fmla="*/ 4858057 h 4858056"/>
                <a:gd name="connsiteX5" fmla="*/ 2060859 w 2060858"/>
                <a:gd name="connsiteY5" fmla="*/ 2429475 h 485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60858" h="4858056">
                  <a:moveTo>
                    <a:pt x="180292" y="0"/>
                  </a:moveTo>
                  <a:lnTo>
                    <a:pt x="0" y="0"/>
                  </a:lnTo>
                  <a:lnTo>
                    <a:pt x="1884137" y="2429475"/>
                  </a:lnTo>
                  <a:lnTo>
                    <a:pt x="0" y="4858057"/>
                  </a:lnTo>
                  <a:lnTo>
                    <a:pt x="180292" y="4858057"/>
                  </a:lnTo>
                  <a:lnTo>
                    <a:pt x="2060859" y="2429475"/>
                  </a:lnTo>
                  <a:close/>
                </a:path>
              </a:pathLst>
            </a:custGeom>
            <a:solidFill>
              <a:srgbClr val="FA7040"/>
            </a:solidFill>
            <a:ln w="89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4D4EB7AF-AFB4-43E3-A2E7-D2EF78DC06E9}"/>
                </a:ext>
              </a:extLst>
            </p:cNvPr>
            <p:cNvSpPr/>
            <p:nvPr/>
          </p:nvSpPr>
          <p:spPr>
            <a:xfrm>
              <a:off x="4219003" y="-215212"/>
              <a:ext cx="2061751" cy="4858949"/>
            </a:xfrm>
            <a:custGeom>
              <a:avLst/>
              <a:gdLst>
                <a:gd name="connsiteX0" fmla="*/ 1881459 w 2061751"/>
                <a:gd name="connsiteY0" fmla="*/ 4858949 h 4858949"/>
                <a:gd name="connsiteX1" fmla="*/ 2061751 w 2061751"/>
                <a:gd name="connsiteY1" fmla="*/ 4858949 h 4858949"/>
                <a:gd name="connsiteX2" fmla="*/ 176721 w 2061751"/>
                <a:gd name="connsiteY2" fmla="*/ 2429475 h 4858949"/>
                <a:gd name="connsiteX3" fmla="*/ 2061751 w 2061751"/>
                <a:gd name="connsiteY3" fmla="*/ 0 h 4858949"/>
                <a:gd name="connsiteX4" fmla="*/ 1881459 w 2061751"/>
                <a:gd name="connsiteY4" fmla="*/ 0 h 4858949"/>
                <a:gd name="connsiteX5" fmla="*/ 0 w 2061751"/>
                <a:gd name="connsiteY5" fmla="*/ 2429475 h 4858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61751" h="4858949">
                  <a:moveTo>
                    <a:pt x="1881459" y="4858949"/>
                  </a:moveTo>
                  <a:lnTo>
                    <a:pt x="2061751" y="4858949"/>
                  </a:lnTo>
                  <a:lnTo>
                    <a:pt x="176721" y="2429475"/>
                  </a:lnTo>
                  <a:lnTo>
                    <a:pt x="2061751" y="0"/>
                  </a:lnTo>
                  <a:lnTo>
                    <a:pt x="1881459" y="0"/>
                  </a:lnTo>
                  <a:lnTo>
                    <a:pt x="0" y="2429475"/>
                  </a:lnTo>
                  <a:close/>
                </a:path>
              </a:pathLst>
            </a:custGeom>
            <a:solidFill>
              <a:srgbClr val="FA7040"/>
            </a:solidFill>
            <a:ln w="89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7FDE374-F5E5-475E-8D87-B1EBD507D428}"/>
              </a:ext>
            </a:extLst>
          </p:cNvPr>
          <p:cNvCxnSpPr>
            <a:cxnSpLocks/>
          </p:cNvCxnSpPr>
          <p:nvPr userDrawn="1"/>
        </p:nvCxnSpPr>
        <p:spPr>
          <a:xfrm>
            <a:off x="1060450" y="3612778"/>
            <a:ext cx="65117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74196C5-CE73-4DF7-B93E-40ABDCCC7F6F}"/>
              </a:ext>
            </a:extLst>
          </p:cNvPr>
          <p:cNvGrpSpPr/>
          <p:nvPr userDrawn="1"/>
        </p:nvGrpSpPr>
        <p:grpSpPr>
          <a:xfrm>
            <a:off x="7400714" y="3441328"/>
            <a:ext cx="171450" cy="171450"/>
            <a:chOff x="7270750" y="3084872"/>
            <a:chExt cx="171450" cy="17145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CF72A5-BECA-47EB-9261-E938C7A3B6C9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Shape 36" descr="Shape 2541">
              <a:extLst>
                <a:ext uri="{FF2B5EF4-FFF2-40B4-BE49-F238E27FC236}">
                  <a16:creationId xmlns:a16="http://schemas.microsoft.com/office/drawing/2014/main" id="{60A19697-4369-404B-9A1F-C8AE4A27BDE4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tx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81503E94-13E3-4520-B163-2C3CF0C557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528E9E45-CB21-4439-A250-EF2EC3A531A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3532" y="3789160"/>
            <a:ext cx="5688843" cy="10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>
            <a:lvl1pPr>
              <a:defRPr lang="en-US" sz="6000" dirty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pl-PL"/>
              <a:t>Divider title</a:t>
            </a:r>
            <a:endParaRPr lang="en-US"/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84B4CB27-00E7-48DD-BC9D-6B2E1AE6E1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688" y="3789160"/>
            <a:ext cx="684212" cy="1080000"/>
          </a:xfrm>
        </p:spPr>
        <p:txBody>
          <a:bodyPr tIns="25200"/>
          <a:lstStyle>
            <a:lvl1pPr>
              <a:defRPr sz="1600" b="1">
                <a:solidFill>
                  <a:schemeClr val="accent1"/>
                </a:solidFill>
                <a:latin typeface="Space Mono" panose="02000509040000020004" pitchFamily="49" charset="-18"/>
              </a:defRPr>
            </a:lvl1pPr>
          </a:lstStyle>
          <a:p>
            <a:pPr lvl="0"/>
            <a:r>
              <a:rPr lang="pl-PL"/>
              <a:t>0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613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 userDrawn="1">
          <p15:clr>
            <a:srgbClr val="FBAE40"/>
          </p15:clr>
        </p15:guide>
        <p15:guide id="2" pos="477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ou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66FAE2-F15E-4C75-ACAC-7203D24957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073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66FAE2-F15E-4C75-ACAC-7203D2495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B77E1B0F-E311-4AA6-A73F-B6CD2F52B7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5B418D-8D60-49FB-83FC-6F745EAB6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39D10-A341-4814-9450-DE2F7892AAC2}" type="datetime1">
              <a:rPr lang="en-US" smtClean="0"/>
              <a:t>8/3/25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C172B4-E1D0-4313-B009-29F906781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7FDE374-F5E5-475E-8D87-B1EBD507D428}"/>
              </a:ext>
            </a:extLst>
          </p:cNvPr>
          <p:cNvCxnSpPr>
            <a:cxnSpLocks/>
          </p:cNvCxnSpPr>
          <p:nvPr userDrawn="1"/>
        </p:nvCxnSpPr>
        <p:spPr>
          <a:xfrm>
            <a:off x="5087888" y="1773238"/>
            <a:ext cx="655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74196C5-CE73-4DF7-B93E-40ABDCCC7F6F}"/>
              </a:ext>
            </a:extLst>
          </p:cNvPr>
          <p:cNvGrpSpPr/>
          <p:nvPr userDrawn="1"/>
        </p:nvGrpSpPr>
        <p:grpSpPr>
          <a:xfrm>
            <a:off x="11469688" y="1601788"/>
            <a:ext cx="171450" cy="171450"/>
            <a:chOff x="7270750" y="3084872"/>
            <a:chExt cx="171450" cy="17145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CF72A5-BECA-47EB-9261-E938C7A3B6C9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Shape 36" descr="Shape 2541">
              <a:extLst>
                <a:ext uri="{FF2B5EF4-FFF2-40B4-BE49-F238E27FC236}">
                  <a16:creationId xmlns:a16="http://schemas.microsoft.com/office/drawing/2014/main" id="{60A19697-4369-404B-9A1F-C8AE4A27BDE4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tx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81503E94-13E3-4520-B163-2C3CF0C557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528E9E45-CB21-4439-A250-EF2EC3A531A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87888" y="1949620"/>
            <a:ext cx="6552000" cy="9033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/>
          <a:lstStyle>
            <a:lvl1pPr>
              <a:defRPr lang="en-US" sz="4000" dirty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pl-PL"/>
              <a:t>About packt</a:t>
            </a:r>
            <a:endParaRPr lang="en-US"/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2E2D221F-A386-4BD8-9B8F-1C172C3BF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7888" y="3032957"/>
            <a:ext cx="6553250" cy="3059868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298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 userDrawn="1">
          <p15:clr>
            <a:srgbClr val="FBAE40"/>
          </p15:clr>
        </p15:guide>
        <p15:guide id="2" pos="477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4 points)">
    <p:bg>
      <p:bgPr>
        <a:solidFill>
          <a:srgbClr val="E8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CF616543-538F-4812-8B9D-3BD5FBD49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902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CF616543-538F-4812-8B9D-3BD5FBD49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1C2912F8-342C-41B9-993D-ADFA90668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242"/>
          <a:stretch/>
        </p:blipFill>
        <p:spPr>
          <a:xfrm>
            <a:off x="0" y="0"/>
            <a:ext cx="411578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0DA990F-3ACA-4B97-B2E3-42DDDBA02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1988840"/>
            <a:ext cx="3312889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DF0D7C-E8BA-4D7A-9969-9114783FE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D6BC9-29C2-4842-9B36-92515869262C}" type="datetime1">
              <a:rPr lang="en-US" smtClean="0"/>
              <a:t>8/3/25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49DF6F-FE93-4DBF-BC84-C00FD0434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3C6A50B-3E54-4EE2-B166-B08C9F618D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5E2BCA-2F27-4DB4-BD6B-BDD5792C7801}"/>
              </a:ext>
            </a:extLst>
          </p:cNvPr>
          <p:cNvCxnSpPr/>
          <p:nvPr userDrawn="1"/>
        </p:nvCxnSpPr>
        <p:spPr>
          <a:xfrm>
            <a:off x="550863" y="1773238"/>
            <a:ext cx="255600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ECC6D3-A156-41FC-B7F4-23A6606F0D94}"/>
              </a:ext>
            </a:extLst>
          </p:cNvPr>
          <p:cNvCxnSpPr>
            <a:cxnSpLocks/>
          </p:cNvCxnSpPr>
          <p:nvPr userDrawn="1"/>
        </p:nvCxnSpPr>
        <p:spPr>
          <a:xfrm>
            <a:off x="5124616" y="1764246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A6043B0-AB60-49E7-B869-50A9242F69D6}"/>
              </a:ext>
            </a:extLst>
          </p:cNvPr>
          <p:cNvGrpSpPr/>
          <p:nvPr userDrawn="1"/>
        </p:nvGrpSpPr>
        <p:grpSpPr>
          <a:xfrm>
            <a:off x="11469166" y="1592796"/>
            <a:ext cx="171450" cy="171450"/>
            <a:chOff x="7270750" y="3084872"/>
            <a:chExt cx="171450" cy="17145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2DBE642-D226-4758-B792-F49703C54E43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Shape 36" descr="Shape 2541">
              <a:extLst>
                <a:ext uri="{FF2B5EF4-FFF2-40B4-BE49-F238E27FC236}">
                  <a16:creationId xmlns:a16="http://schemas.microsoft.com/office/drawing/2014/main" id="{E90AC932-6DB5-4016-B726-CD4B58403B14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4D4025B-0E67-40E5-A3DB-16433E030632}"/>
              </a:ext>
            </a:extLst>
          </p:cNvPr>
          <p:cNvSpPr/>
          <p:nvPr userDrawn="1"/>
        </p:nvSpPr>
        <p:spPr>
          <a:xfrm>
            <a:off x="5124414" y="1871154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1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2F97F0-9B73-43C0-B70C-E1AE28D3ED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9976" y="1871154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C0B3486-5C7F-4444-839D-2BB9D6BC25A4}"/>
              </a:ext>
            </a:extLst>
          </p:cNvPr>
          <p:cNvCxnSpPr>
            <a:cxnSpLocks/>
          </p:cNvCxnSpPr>
          <p:nvPr userDrawn="1"/>
        </p:nvCxnSpPr>
        <p:spPr>
          <a:xfrm>
            <a:off x="5124616" y="2340310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F775374-21CC-44FB-AC17-BCA428761EB4}"/>
              </a:ext>
            </a:extLst>
          </p:cNvPr>
          <p:cNvGrpSpPr/>
          <p:nvPr userDrawn="1"/>
        </p:nvGrpSpPr>
        <p:grpSpPr>
          <a:xfrm>
            <a:off x="11469166" y="2168860"/>
            <a:ext cx="171450" cy="171450"/>
            <a:chOff x="7270750" y="3084872"/>
            <a:chExt cx="171450" cy="17145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A04FD22-3E75-4791-94F9-4A0D0C489548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" name="Shape 36" descr="Shape 2541">
              <a:extLst>
                <a:ext uri="{FF2B5EF4-FFF2-40B4-BE49-F238E27FC236}">
                  <a16:creationId xmlns:a16="http://schemas.microsoft.com/office/drawing/2014/main" id="{29414A3B-15AA-4DE0-B6C9-BC7DD02DAC57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75518CB0-5BFA-4B6F-BDD6-295EEE5DC78C}"/>
              </a:ext>
            </a:extLst>
          </p:cNvPr>
          <p:cNvSpPr/>
          <p:nvPr userDrawn="1"/>
        </p:nvSpPr>
        <p:spPr>
          <a:xfrm>
            <a:off x="5124414" y="2456892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2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5C361C-A572-497B-A16A-F16E05CA01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9976" y="2456928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B6AA610-F479-4B59-8EA1-C7198E179833}"/>
              </a:ext>
            </a:extLst>
          </p:cNvPr>
          <p:cNvCxnSpPr>
            <a:cxnSpLocks/>
          </p:cNvCxnSpPr>
          <p:nvPr userDrawn="1"/>
        </p:nvCxnSpPr>
        <p:spPr>
          <a:xfrm>
            <a:off x="5124616" y="2916374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4BF9626-965F-417A-8036-7B492E898CDD}"/>
              </a:ext>
            </a:extLst>
          </p:cNvPr>
          <p:cNvGrpSpPr/>
          <p:nvPr userDrawn="1"/>
        </p:nvGrpSpPr>
        <p:grpSpPr>
          <a:xfrm>
            <a:off x="11469166" y="2744924"/>
            <a:ext cx="171450" cy="171450"/>
            <a:chOff x="7270750" y="3084872"/>
            <a:chExt cx="171450" cy="17145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B4099C1-601F-4E15-8836-DB554A8D041C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Shape 36" descr="Shape 2541">
              <a:extLst>
                <a:ext uri="{FF2B5EF4-FFF2-40B4-BE49-F238E27FC236}">
                  <a16:creationId xmlns:a16="http://schemas.microsoft.com/office/drawing/2014/main" id="{66CD4CE4-7CE2-4CE3-BCAB-236FCCD2A3D1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72E3AF44-AF0C-47A1-B896-6CC13E1045D8}"/>
              </a:ext>
            </a:extLst>
          </p:cNvPr>
          <p:cNvSpPr/>
          <p:nvPr userDrawn="1"/>
        </p:nvSpPr>
        <p:spPr>
          <a:xfrm>
            <a:off x="5124414" y="3023282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3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34B28E92-7095-4824-98F3-51DB0C0188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9976" y="3023282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494B17C-3F53-43B5-9E99-A1112C936662}"/>
              </a:ext>
            </a:extLst>
          </p:cNvPr>
          <p:cNvCxnSpPr>
            <a:cxnSpLocks/>
          </p:cNvCxnSpPr>
          <p:nvPr userDrawn="1"/>
        </p:nvCxnSpPr>
        <p:spPr>
          <a:xfrm>
            <a:off x="5124616" y="3502112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6F0A703-5A78-434D-8788-28DF39216673}"/>
              </a:ext>
            </a:extLst>
          </p:cNvPr>
          <p:cNvGrpSpPr/>
          <p:nvPr userDrawn="1"/>
        </p:nvGrpSpPr>
        <p:grpSpPr>
          <a:xfrm>
            <a:off x="11469166" y="3330662"/>
            <a:ext cx="171450" cy="171450"/>
            <a:chOff x="7270750" y="3084872"/>
            <a:chExt cx="171450" cy="17145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4126072-4A1B-4D05-8D98-22C6AC037BC8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2" name="Shape 36" descr="Shape 2541">
              <a:extLst>
                <a:ext uri="{FF2B5EF4-FFF2-40B4-BE49-F238E27FC236}">
                  <a16:creationId xmlns:a16="http://schemas.microsoft.com/office/drawing/2014/main" id="{635701A8-C77E-4D03-A4A8-190ADE846FB5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3235ACE3-3037-4433-8026-D4E2E20693C2}"/>
              </a:ext>
            </a:extLst>
          </p:cNvPr>
          <p:cNvSpPr/>
          <p:nvPr userDrawn="1"/>
        </p:nvSpPr>
        <p:spPr>
          <a:xfrm>
            <a:off x="5124414" y="3609020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4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BB92BA5F-01D1-4ECD-8D89-5C3FFBB3BA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9976" y="3609020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387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5 points)">
    <p:bg>
      <p:bgPr>
        <a:solidFill>
          <a:srgbClr val="E8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CF616543-538F-4812-8B9D-3BD5FBD49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902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CF616543-538F-4812-8B9D-3BD5FBD49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1C2912F8-342C-41B9-993D-ADFA90668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242"/>
          <a:stretch/>
        </p:blipFill>
        <p:spPr>
          <a:xfrm>
            <a:off x="0" y="0"/>
            <a:ext cx="411578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0DA990F-3ACA-4B97-B2E3-42DDDBA02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1988840"/>
            <a:ext cx="3312889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DF0D7C-E8BA-4D7A-9969-9114783FE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1C377-B8DC-41A9-8A16-9AF6C2D55541}" type="datetime1">
              <a:rPr lang="en-US" smtClean="0"/>
              <a:t>8/3/25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49DF6F-FE93-4DBF-BC84-C00FD0434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3C6A50B-3E54-4EE2-B166-B08C9F618D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5E2BCA-2F27-4DB4-BD6B-BDD5792C7801}"/>
              </a:ext>
            </a:extLst>
          </p:cNvPr>
          <p:cNvCxnSpPr/>
          <p:nvPr userDrawn="1"/>
        </p:nvCxnSpPr>
        <p:spPr>
          <a:xfrm>
            <a:off x="550863" y="1773238"/>
            <a:ext cx="255600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ECC6D3-A156-41FC-B7F4-23A6606F0D94}"/>
              </a:ext>
            </a:extLst>
          </p:cNvPr>
          <p:cNvCxnSpPr>
            <a:cxnSpLocks/>
          </p:cNvCxnSpPr>
          <p:nvPr userDrawn="1"/>
        </p:nvCxnSpPr>
        <p:spPr>
          <a:xfrm>
            <a:off x="5124616" y="1764246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A6043B0-AB60-49E7-B869-50A9242F69D6}"/>
              </a:ext>
            </a:extLst>
          </p:cNvPr>
          <p:cNvGrpSpPr/>
          <p:nvPr userDrawn="1"/>
        </p:nvGrpSpPr>
        <p:grpSpPr>
          <a:xfrm>
            <a:off x="11469166" y="1592796"/>
            <a:ext cx="171450" cy="171450"/>
            <a:chOff x="7270750" y="3084872"/>
            <a:chExt cx="171450" cy="17145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2DBE642-D226-4758-B792-F49703C54E43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Shape 36" descr="Shape 2541">
              <a:extLst>
                <a:ext uri="{FF2B5EF4-FFF2-40B4-BE49-F238E27FC236}">
                  <a16:creationId xmlns:a16="http://schemas.microsoft.com/office/drawing/2014/main" id="{E90AC932-6DB5-4016-B726-CD4B58403B14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4D4025B-0E67-40E5-A3DB-16433E030632}"/>
              </a:ext>
            </a:extLst>
          </p:cNvPr>
          <p:cNvSpPr/>
          <p:nvPr userDrawn="1"/>
        </p:nvSpPr>
        <p:spPr>
          <a:xfrm>
            <a:off x="5124414" y="1871154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1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2F97F0-9B73-43C0-B70C-E1AE28D3ED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9976" y="1871154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C0B3486-5C7F-4444-839D-2BB9D6BC25A4}"/>
              </a:ext>
            </a:extLst>
          </p:cNvPr>
          <p:cNvCxnSpPr>
            <a:cxnSpLocks/>
          </p:cNvCxnSpPr>
          <p:nvPr userDrawn="1"/>
        </p:nvCxnSpPr>
        <p:spPr>
          <a:xfrm>
            <a:off x="5124616" y="2340310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F775374-21CC-44FB-AC17-BCA428761EB4}"/>
              </a:ext>
            </a:extLst>
          </p:cNvPr>
          <p:cNvGrpSpPr/>
          <p:nvPr userDrawn="1"/>
        </p:nvGrpSpPr>
        <p:grpSpPr>
          <a:xfrm>
            <a:off x="11469166" y="2168860"/>
            <a:ext cx="171450" cy="171450"/>
            <a:chOff x="7270750" y="3084872"/>
            <a:chExt cx="171450" cy="17145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A04FD22-3E75-4791-94F9-4A0D0C489548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" name="Shape 36" descr="Shape 2541">
              <a:extLst>
                <a:ext uri="{FF2B5EF4-FFF2-40B4-BE49-F238E27FC236}">
                  <a16:creationId xmlns:a16="http://schemas.microsoft.com/office/drawing/2014/main" id="{29414A3B-15AA-4DE0-B6C9-BC7DD02DAC57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75518CB0-5BFA-4B6F-BDD6-295EEE5DC78C}"/>
              </a:ext>
            </a:extLst>
          </p:cNvPr>
          <p:cNvSpPr/>
          <p:nvPr userDrawn="1"/>
        </p:nvSpPr>
        <p:spPr>
          <a:xfrm>
            <a:off x="5124414" y="2456892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2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5C361C-A572-497B-A16A-F16E05CA01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9976" y="2456928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B6AA610-F479-4B59-8EA1-C7198E179833}"/>
              </a:ext>
            </a:extLst>
          </p:cNvPr>
          <p:cNvCxnSpPr>
            <a:cxnSpLocks/>
          </p:cNvCxnSpPr>
          <p:nvPr userDrawn="1"/>
        </p:nvCxnSpPr>
        <p:spPr>
          <a:xfrm>
            <a:off x="5124616" y="2916374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4BF9626-965F-417A-8036-7B492E898CDD}"/>
              </a:ext>
            </a:extLst>
          </p:cNvPr>
          <p:cNvGrpSpPr/>
          <p:nvPr userDrawn="1"/>
        </p:nvGrpSpPr>
        <p:grpSpPr>
          <a:xfrm>
            <a:off x="11469166" y="2744924"/>
            <a:ext cx="171450" cy="171450"/>
            <a:chOff x="7270750" y="3084872"/>
            <a:chExt cx="171450" cy="17145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B4099C1-601F-4E15-8836-DB554A8D041C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Shape 36" descr="Shape 2541">
              <a:extLst>
                <a:ext uri="{FF2B5EF4-FFF2-40B4-BE49-F238E27FC236}">
                  <a16:creationId xmlns:a16="http://schemas.microsoft.com/office/drawing/2014/main" id="{66CD4CE4-7CE2-4CE3-BCAB-236FCCD2A3D1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72E3AF44-AF0C-47A1-B896-6CC13E1045D8}"/>
              </a:ext>
            </a:extLst>
          </p:cNvPr>
          <p:cNvSpPr/>
          <p:nvPr userDrawn="1"/>
        </p:nvSpPr>
        <p:spPr>
          <a:xfrm>
            <a:off x="5124414" y="3023282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3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34B28E92-7095-4824-98F3-51DB0C0188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9976" y="3023282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494B17C-3F53-43B5-9E99-A1112C936662}"/>
              </a:ext>
            </a:extLst>
          </p:cNvPr>
          <p:cNvCxnSpPr>
            <a:cxnSpLocks/>
          </p:cNvCxnSpPr>
          <p:nvPr userDrawn="1"/>
        </p:nvCxnSpPr>
        <p:spPr>
          <a:xfrm>
            <a:off x="5124616" y="3502112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6F0A703-5A78-434D-8788-28DF39216673}"/>
              </a:ext>
            </a:extLst>
          </p:cNvPr>
          <p:cNvGrpSpPr/>
          <p:nvPr userDrawn="1"/>
        </p:nvGrpSpPr>
        <p:grpSpPr>
          <a:xfrm>
            <a:off x="11469166" y="3330662"/>
            <a:ext cx="171450" cy="171450"/>
            <a:chOff x="7270750" y="3084872"/>
            <a:chExt cx="171450" cy="17145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4126072-4A1B-4D05-8D98-22C6AC037BC8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2" name="Shape 36" descr="Shape 2541">
              <a:extLst>
                <a:ext uri="{FF2B5EF4-FFF2-40B4-BE49-F238E27FC236}">
                  <a16:creationId xmlns:a16="http://schemas.microsoft.com/office/drawing/2014/main" id="{635701A8-C77E-4D03-A4A8-190ADE846FB5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3235ACE3-3037-4433-8026-D4E2E20693C2}"/>
              </a:ext>
            </a:extLst>
          </p:cNvPr>
          <p:cNvSpPr/>
          <p:nvPr userDrawn="1"/>
        </p:nvSpPr>
        <p:spPr>
          <a:xfrm>
            <a:off x="5124414" y="3609020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4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BB92BA5F-01D1-4ECD-8D89-5C3FFBB3BA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9976" y="3609020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352767C-D363-40FD-A601-FDCCD673459D}"/>
              </a:ext>
            </a:extLst>
          </p:cNvPr>
          <p:cNvCxnSpPr>
            <a:cxnSpLocks/>
          </p:cNvCxnSpPr>
          <p:nvPr userDrawn="1"/>
        </p:nvCxnSpPr>
        <p:spPr>
          <a:xfrm>
            <a:off x="5124616" y="4078176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A2B04DE-35DA-49AA-95D8-7D71D38735CE}"/>
              </a:ext>
            </a:extLst>
          </p:cNvPr>
          <p:cNvGrpSpPr/>
          <p:nvPr userDrawn="1"/>
        </p:nvGrpSpPr>
        <p:grpSpPr>
          <a:xfrm>
            <a:off x="11469166" y="3906726"/>
            <a:ext cx="171450" cy="171450"/>
            <a:chOff x="7270750" y="3084872"/>
            <a:chExt cx="171450" cy="17145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A316BA3-63EB-476B-B2DF-B637B8BE2D9A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8" name="Shape 36" descr="Shape 2541">
              <a:extLst>
                <a:ext uri="{FF2B5EF4-FFF2-40B4-BE49-F238E27FC236}">
                  <a16:creationId xmlns:a16="http://schemas.microsoft.com/office/drawing/2014/main" id="{F8C3ED6A-14F3-4782-A6D4-04560DB25F95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61DF28EA-EB96-4756-80CD-ACD390D0D4C1}"/>
              </a:ext>
            </a:extLst>
          </p:cNvPr>
          <p:cNvSpPr/>
          <p:nvPr userDrawn="1"/>
        </p:nvSpPr>
        <p:spPr>
          <a:xfrm>
            <a:off x="5124414" y="4185084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5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50" name="Text Placeholder 25">
            <a:extLst>
              <a:ext uri="{FF2B5EF4-FFF2-40B4-BE49-F238E27FC236}">
                <a16:creationId xmlns:a16="http://schemas.microsoft.com/office/drawing/2014/main" id="{A60D93D0-ACC0-4573-BC01-81133E5048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9976" y="4185084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84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6 points)">
    <p:bg>
      <p:bgPr>
        <a:solidFill>
          <a:srgbClr val="E8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CF616543-538F-4812-8B9D-3BD5FBD49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902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CF616543-538F-4812-8B9D-3BD5FBD49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1C2912F8-342C-41B9-993D-ADFA906689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242"/>
          <a:stretch/>
        </p:blipFill>
        <p:spPr>
          <a:xfrm>
            <a:off x="0" y="0"/>
            <a:ext cx="411578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0DA990F-3ACA-4B97-B2E3-42DDDBA02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1988840"/>
            <a:ext cx="3312889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DF0D7C-E8BA-4D7A-9969-9114783FE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69CE0-2A7E-4B1D-B325-825E6DB32028}" type="datetime1">
              <a:rPr lang="en-US" smtClean="0"/>
              <a:t>8/3/25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49DF6F-FE93-4DBF-BC84-C00FD0434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3C6A50B-3E54-4EE2-B166-B08C9F618D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5E2BCA-2F27-4DB4-BD6B-BDD5792C7801}"/>
              </a:ext>
            </a:extLst>
          </p:cNvPr>
          <p:cNvCxnSpPr/>
          <p:nvPr userDrawn="1"/>
        </p:nvCxnSpPr>
        <p:spPr>
          <a:xfrm>
            <a:off x="550863" y="1773238"/>
            <a:ext cx="255600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ECC6D3-A156-41FC-B7F4-23A6606F0D94}"/>
              </a:ext>
            </a:extLst>
          </p:cNvPr>
          <p:cNvCxnSpPr>
            <a:cxnSpLocks/>
          </p:cNvCxnSpPr>
          <p:nvPr userDrawn="1"/>
        </p:nvCxnSpPr>
        <p:spPr>
          <a:xfrm>
            <a:off x="5124616" y="1764246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A6043B0-AB60-49E7-B869-50A9242F69D6}"/>
              </a:ext>
            </a:extLst>
          </p:cNvPr>
          <p:cNvGrpSpPr/>
          <p:nvPr userDrawn="1"/>
        </p:nvGrpSpPr>
        <p:grpSpPr>
          <a:xfrm>
            <a:off x="11469166" y="1592796"/>
            <a:ext cx="171450" cy="171450"/>
            <a:chOff x="7270750" y="3084872"/>
            <a:chExt cx="171450" cy="17145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2DBE642-D226-4758-B792-F49703C54E43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Shape 36" descr="Shape 2541">
              <a:extLst>
                <a:ext uri="{FF2B5EF4-FFF2-40B4-BE49-F238E27FC236}">
                  <a16:creationId xmlns:a16="http://schemas.microsoft.com/office/drawing/2014/main" id="{E90AC932-6DB5-4016-B726-CD4B58403B14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4D4025B-0E67-40E5-A3DB-16433E030632}"/>
              </a:ext>
            </a:extLst>
          </p:cNvPr>
          <p:cNvSpPr/>
          <p:nvPr userDrawn="1"/>
        </p:nvSpPr>
        <p:spPr>
          <a:xfrm>
            <a:off x="5124414" y="1871154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1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2F97F0-9B73-43C0-B70C-E1AE28D3ED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9976" y="1871154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C0B3486-5C7F-4444-839D-2BB9D6BC25A4}"/>
              </a:ext>
            </a:extLst>
          </p:cNvPr>
          <p:cNvCxnSpPr>
            <a:cxnSpLocks/>
          </p:cNvCxnSpPr>
          <p:nvPr userDrawn="1"/>
        </p:nvCxnSpPr>
        <p:spPr>
          <a:xfrm>
            <a:off x="5124616" y="2340310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F775374-21CC-44FB-AC17-BCA428761EB4}"/>
              </a:ext>
            </a:extLst>
          </p:cNvPr>
          <p:cNvGrpSpPr/>
          <p:nvPr userDrawn="1"/>
        </p:nvGrpSpPr>
        <p:grpSpPr>
          <a:xfrm>
            <a:off x="11469166" y="2168860"/>
            <a:ext cx="171450" cy="171450"/>
            <a:chOff x="7270750" y="3084872"/>
            <a:chExt cx="171450" cy="17145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A04FD22-3E75-4791-94F9-4A0D0C489548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" name="Shape 36" descr="Shape 2541">
              <a:extLst>
                <a:ext uri="{FF2B5EF4-FFF2-40B4-BE49-F238E27FC236}">
                  <a16:creationId xmlns:a16="http://schemas.microsoft.com/office/drawing/2014/main" id="{29414A3B-15AA-4DE0-B6C9-BC7DD02DAC57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75518CB0-5BFA-4B6F-BDD6-295EEE5DC78C}"/>
              </a:ext>
            </a:extLst>
          </p:cNvPr>
          <p:cNvSpPr/>
          <p:nvPr userDrawn="1"/>
        </p:nvSpPr>
        <p:spPr>
          <a:xfrm>
            <a:off x="5124414" y="2456892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2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5C361C-A572-497B-A16A-F16E05CA01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9976" y="2456928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B6AA610-F479-4B59-8EA1-C7198E179833}"/>
              </a:ext>
            </a:extLst>
          </p:cNvPr>
          <p:cNvCxnSpPr>
            <a:cxnSpLocks/>
          </p:cNvCxnSpPr>
          <p:nvPr userDrawn="1"/>
        </p:nvCxnSpPr>
        <p:spPr>
          <a:xfrm>
            <a:off x="5124616" y="2916374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4BF9626-965F-417A-8036-7B492E898CDD}"/>
              </a:ext>
            </a:extLst>
          </p:cNvPr>
          <p:cNvGrpSpPr/>
          <p:nvPr userDrawn="1"/>
        </p:nvGrpSpPr>
        <p:grpSpPr>
          <a:xfrm>
            <a:off x="11469166" y="2744924"/>
            <a:ext cx="171450" cy="171450"/>
            <a:chOff x="7270750" y="3084872"/>
            <a:chExt cx="171450" cy="17145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B4099C1-601F-4E15-8836-DB554A8D041C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Shape 36" descr="Shape 2541">
              <a:extLst>
                <a:ext uri="{FF2B5EF4-FFF2-40B4-BE49-F238E27FC236}">
                  <a16:creationId xmlns:a16="http://schemas.microsoft.com/office/drawing/2014/main" id="{66CD4CE4-7CE2-4CE3-BCAB-236FCCD2A3D1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72E3AF44-AF0C-47A1-B896-6CC13E1045D8}"/>
              </a:ext>
            </a:extLst>
          </p:cNvPr>
          <p:cNvSpPr/>
          <p:nvPr userDrawn="1"/>
        </p:nvSpPr>
        <p:spPr>
          <a:xfrm>
            <a:off x="5124414" y="3023282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3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34B28E92-7095-4824-98F3-51DB0C0188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9976" y="3023282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494B17C-3F53-43B5-9E99-A1112C936662}"/>
              </a:ext>
            </a:extLst>
          </p:cNvPr>
          <p:cNvCxnSpPr>
            <a:cxnSpLocks/>
          </p:cNvCxnSpPr>
          <p:nvPr userDrawn="1"/>
        </p:nvCxnSpPr>
        <p:spPr>
          <a:xfrm>
            <a:off x="5124616" y="3502112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6F0A703-5A78-434D-8788-28DF39216673}"/>
              </a:ext>
            </a:extLst>
          </p:cNvPr>
          <p:cNvGrpSpPr/>
          <p:nvPr userDrawn="1"/>
        </p:nvGrpSpPr>
        <p:grpSpPr>
          <a:xfrm>
            <a:off x="11469166" y="3330662"/>
            <a:ext cx="171450" cy="171450"/>
            <a:chOff x="7270750" y="3084872"/>
            <a:chExt cx="171450" cy="17145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4126072-4A1B-4D05-8D98-22C6AC037BC8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2" name="Shape 36" descr="Shape 2541">
              <a:extLst>
                <a:ext uri="{FF2B5EF4-FFF2-40B4-BE49-F238E27FC236}">
                  <a16:creationId xmlns:a16="http://schemas.microsoft.com/office/drawing/2014/main" id="{635701A8-C77E-4D03-A4A8-190ADE846FB5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3235ACE3-3037-4433-8026-D4E2E20693C2}"/>
              </a:ext>
            </a:extLst>
          </p:cNvPr>
          <p:cNvSpPr/>
          <p:nvPr userDrawn="1"/>
        </p:nvSpPr>
        <p:spPr>
          <a:xfrm>
            <a:off x="5124414" y="3609020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4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BB92BA5F-01D1-4ECD-8D89-5C3FFBB3BA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9976" y="3609020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352767C-D363-40FD-A601-FDCCD673459D}"/>
              </a:ext>
            </a:extLst>
          </p:cNvPr>
          <p:cNvCxnSpPr>
            <a:cxnSpLocks/>
          </p:cNvCxnSpPr>
          <p:nvPr userDrawn="1"/>
        </p:nvCxnSpPr>
        <p:spPr>
          <a:xfrm>
            <a:off x="5124616" y="4078176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A2B04DE-35DA-49AA-95D8-7D71D38735CE}"/>
              </a:ext>
            </a:extLst>
          </p:cNvPr>
          <p:cNvGrpSpPr/>
          <p:nvPr userDrawn="1"/>
        </p:nvGrpSpPr>
        <p:grpSpPr>
          <a:xfrm>
            <a:off x="11469166" y="3906726"/>
            <a:ext cx="171450" cy="171450"/>
            <a:chOff x="7270750" y="3084872"/>
            <a:chExt cx="171450" cy="17145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A316BA3-63EB-476B-B2DF-B637B8BE2D9A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8" name="Shape 36" descr="Shape 2541">
              <a:extLst>
                <a:ext uri="{FF2B5EF4-FFF2-40B4-BE49-F238E27FC236}">
                  <a16:creationId xmlns:a16="http://schemas.microsoft.com/office/drawing/2014/main" id="{F8C3ED6A-14F3-4782-A6D4-04560DB25F95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61DF28EA-EB96-4756-80CD-ACD390D0D4C1}"/>
              </a:ext>
            </a:extLst>
          </p:cNvPr>
          <p:cNvSpPr/>
          <p:nvPr userDrawn="1"/>
        </p:nvSpPr>
        <p:spPr>
          <a:xfrm>
            <a:off x="5124414" y="4185084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5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50" name="Text Placeholder 25">
            <a:extLst>
              <a:ext uri="{FF2B5EF4-FFF2-40B4-BE49-F238E27FC236}">
                <a16:creationId xmlns:a16="http://schemas.microsoft.com/office/drawing/2014/main" id="{A60D93D0-ACC0-4573-BC01-81133E5048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9976" y="4185084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5F14A80-C284-4A46-9996-CDC097D08F91}"/>
              </a:ext>
            </a:extLst>
          </p:cNvPr>
          <p:cNvCxnSpPr>
            <a:cxnSpLocks/>
          </p:cNvCxnSpPr>
          <p:nvPr userDrawn="1"/>
        </p:nvCxnSpPr>
        <p:spPr>
          <a:xfrm>
            <a:off x="5124616" y="4654240"/>
            <a:ext cx="65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47B71CC-DEFE-459E-B464-B3E4674EA918}"/>
              </a:ext>
            </a:extLst>
          </p:cNvPr>
          <p:cNvGrpSpPr/>
          <p:nvPr userDrawn="1"/>
        </p:nvGrpSpPr>
        <p:grpSpPr>
          <a:xfrm>
            <a:off x="11469166" y="4482790"/>
            <a:ext cx="171450" cy="171450"/>
            <a:chOff x="7270750" y="3084872"/>
            <a:chExt cx="171450" cy="171450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CDBDB71A-14D3-4712-860F-94B5CD8719A6}"/>
                </a:ext>
              </a:extLst>
            </p:cNvPr>
            <p:cNvSpPr/>
            <p:nvPr/>
          </p:nvSpPr>
          <p:spPr>
            <a:xfrm>
              <a:off x="7270750" y="3084872"/>
              <a:ext cx="171450" cy="171450"/>
            </a:xfrm>
            <a:prstGeom prst="rect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4" name="Shape 36" descr="Shape 2541">
              <a:extLst>
                <a:ext uri="{FF2B5EF4-FFF2-40B4-BE49-F238E27FC236}">
                  <a16:creationId xmlns:a16="http://schemas.microsoft.com/office/drawing/2014/main" id="{F0695946-DA67-42CC-9645-CD85CCE61C7C}"/>
                </a:ext>
              </a:extLst>
            </p:cNvPr>
            <p:cNvSpPr/>
            <p:nvPr/>
          </p:nvSpPr>
          <p:spPr>
            <a:xfrm>
              <a:off x="7306776" y="3120898"/>
              <a:ext cx="99398" cy="99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7145" rIns="17145" anchor="ctr"/>
            <a:lstStyle/>
            <a:p>
              <a:pPr defTabSz="171398">
                <a:defRPr sz="29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88"/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089B039B-1B3B-49F1-98BC-638BA14D95B8}"/>
              </a:ext>
            </a:extLst>
          </p:cNvPr>
          <p:cNvSpPr/>
          <p:nvPr userDrawn="1"/>
        </p:nvSpPr>
        <p:spPr>
          <a:xfrm>
            <a:off x="5124414" y="4761148"/>
            <a:ext cx="648072" cy="1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pl-PL" sz="1200" b="1">
                <a:solidFill>
                  <a:schemeClr val="accent1"/>
                </a:solidFill>
                <a:latin typeface="Space Mono" panose="02000509040000020004" pitchFamily="49" charset="-18"/>
              </a:rPr>
              <a:t>06</a:t>
            </a:r>
            <a:endParaRPr lang="en-US" sz="1200" b="1">
              <a:solidFill>
                <a:schemeClr val="accent1"/>
              </a:solidFill>
              <a:latin typeface="Space Mono" panose="02000509040000020004" pitchFamily="49" charset="-18"/>
            </a:endParaRPr>
          </a:p>
        </p:txBody>
      </p:sp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05930BCE-ABC2-4741-A983-615CEDB765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9976" y="4761148"/>
            <a:ext cx="5761162" cy="324000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pl-PL"/>
              <a:t>Sec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778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bg>
      <p:bgPr>
        <a:solidFill>
          <a:srgbClr val="E8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CF616543-538F-4812-8B9D-3BD5FBD49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41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CF616543-538F-4812-8B9D-3BD5FBD49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DA990F-3ACA-4B97-B2E3-42DDDBA02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764704"/>
            <a:ext cx="11090275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sz="2800" dirty="0"/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DF0D7C-E8BA-4D7A-9969-9114783FE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D5DB66-88C3-40AA-8844-E59795F575BF}" type="datetime1">
              <a:rPr lang="en-US" smtClean="0"/>
              <a:t>8/3/25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49DF6F-FE93-4DBF-BC84-C00FD0434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824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1DDC271-5BCF-4235-A36E-B882E1038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14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1DDC271-5BCF-4235-A36E-B882E103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70C648F-5C27-4B98-99D2-6E7DB79D41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773238"/>
            <a:ext cx="11090275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3D867DB-8FC2-47DA-AB25-69D4D398E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942159D0-F4BA-4115-988B-CA47176B38CA}" type="datetime1">
              <a:rPr lang="en-US" smtClean="0"/>
              <a:t>8/3/25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698846-8213-428A-BADC-AFEFEA413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BC0329-A465-48D2-9AF2-1F06A4E6B105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323141A-0849-4E5A-B019-CCC3ACC2E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259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E582FA2-E584-4650-8C39-F300997D95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50782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06" imgH="306" progId="TCLayout.ActiveDocument.1">
                  <p:embed/>
                </p:oleObj>
              </mc:Choice>
              <mc:Fallback>
                <p:oleObj name="think-cell Slide" r:id="rId32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E582FA2-E584-4650-8C39-F300997D9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945DDC-4525-4444-8FC3-66871E4AA1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2" y="1773238"/>
            <a:ext cx="11088000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1520C8-DEA7-4825-A9FF-8ED9597292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51484" y="6488571"/>
            <a:ext cx="792000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fld id="{7D69557C-83D0-43B6-9A1B-D58712C352F2}" type="datetime1">
              <a:rPr lang="en-US" smtClean="0"/>
              <a:t>8/3/25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F71246-6DAA-4F06-8F44-DAE01995E5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88571"/>
            <a:ext cx="792609" cy="1800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0" bIns="0" rtlCol="0" anchor="ctr"/>
          <a:lstStyle>
            <a:lvl1pPr>
              <a:defRPr lang="en-US" sz="800" smtClean="0">
                <a:solidFill>
                  <a:schemeClr val="tx1"/>
                </a:solidFill>
                <a:latin typeface="Space Mono" panose="02000509040000020004" pitchFamily="49" charset="-18"/>
              </a:defRPr>
            </a:lvl1pPr>
          </a:lstStyle>
          <a:p>
            <a:r>
              <a:rPr lang="pl-PL"/>
              <a:t>PG. </a:t>
            </a:r>
            <a:fld id="{78A5FBEC-AD48-4732-A93E-D868E0593745}" type="slidenum">
              <a:rPr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E5D2C7-3712-456B-A3C9-FDBB41C6417E}"/>
              </a:ext>
            </a:extLst>
          </p:cNvPr>
          <p:cNvCxnSpPr>
            <a:cxnSpLocks/>
          </p:cNvCxnSpPr>
          <p:nvPr userDrawn="1"/>
        </p:nvCxnSpPr>
        <p:spPr>
          <a:xfrm>
            <a:off x="552616" y="584684"/>
            <a:ext cx="1108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70D56051-09E6-497A-AA65-CE04416C6D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t="33191" r="17500" b="33191"/>
          <a:stretch/>
        </p:blipFill>
        <p:spPr>
          <a:xfrm>
            <a:off x="10770232" y="161483"/>
            <a:ext cx="900100" cy="26171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DCE6589-4204-4469-A9F5-F48E3ACE05E2}"/>
              </a:ext>
            </a:extLst>
          </p:cNvPr>
          <p:cNvCxnSpPr>
            <a:cxnSpLocks/>
          </p:cNvCxnSpPr>
          <p:nvPr userDrawn="1"/>
        </p:nvCxnSpPr>
        <p:spPr>
          <a:xfrm>
            <a:off x="552616" y="6273316"/>
            <a:ext cx="1108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0D692547-BB00-42A3-AA19-02FFD19BA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764792"/>
            <a:ext cx="1108800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A343DF30-1D35-4D7E-9913-939C2E2ED1BA}"/>
              </a:ext>
            </a:extLst>
          </p:cNvPr>
          <p:cNvSpPr/>
          <p:nvPr userDrawn="1"/>
        </p:nvSpPr>
        <p:spPr>
          <a:xfrm>
            <a:off x="11590782" y="6519835"/>
            <a:ext cx="49834" cy="117472"/>
          </a:xfrm>
          <a:custGeom>
            <a:avLst/>
            <a:gdLst>
              <a:gd name="connsiteX0" fmla="*/ 180292 w 2060858"/>
              <a:gd name="connsiteY0" fmla="*/ 0 h 4858056"/>
              <a:gd name="connsiteX1" fmla="*/ 0 w 2060858"/>
              <a:gd name="connsiteY1" fmla="*/ 0 h 4858056"/>
              <a:gd name="connsiteX2" fmla="*/ 1884137 w 2060858"/>
              <a:gd name="connsiteY2" fmla="*/ 2429475 h 4858056"/>
              <a:gd name="connsiteX3" fmla="*/ 0 w 2060858"/>
              <a:gd name="connsiteY3" fmla="*/ 4858057 h 4858056"/>
              <a:gd name="connsiteX4" fmla="*/ 180292 w 2060858"/>
              <a:gd name="connsiteY4" fmla="*/ 4858057 h 4858056"/>
              <a:gd name="connsiteX5" fmla="*/ 2060859 w 2060858"/>
              <a:gd name="connsiteY5" fmla="*/ 2429475 h 485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0858" h="4858056">
                <a:moveTo>
                  <a:pt x="180292" y="0"/>
                </a:moveTo>
                <a:lnTo>
                  <a:pt x="0" y="0"/>
                </a:lnTo>
                <a:lnTo>
                  <a:pt x="1884137" y="2429475"/>
                </a:lnTo>
                <a:lnTo>
                  <a:pt x="0" y="4858057"/>
                </a:lnTo>
                <a:lnTo>
                  <a:pt x="180292" y="4858057"/>
                </a:lnTo>
                <a:lnTo>
                  <a:pt x="2060859" y="2429475"/>
                </a:lnTo>
                <a:close/>
              </a:path>
            </a:pathLst>
          </a:custGeom>
          <a:solidFill>
            <a:srgbClr val="FA7040"/>
          </a:solidFill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616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80" r:id="rId4"/>
    <p:sldLayoutId id="2147483657" r:id="rId5"/>
    <p:sldLayoutId id="2147483672" r:id="rId6"/>
    <p:sldLayoutId id="2147483671" r:id="rId7"/>
    <p:sldLayoutId id="2147483658" r:id="rId8"/>
    <p:sldLayoutId id="2147483650" r:id="rId9"/>
    <p:sldLayoutId id="2147483677" r:id="rId10"/>
    <p:sldLayoutId id="2147483679" r:id="rId11"/>
    <p:sldLayoutId id="2147483678" r:id="rId12"/>
    <p:sldLayoutId id="2147483665" r:id="rId13"/>
    <p:sldLayoutId id="2147483660" r:id="rId14"/>
    <p:sldLayoutId id="2147483663" r:id="rId15"/>
    <p:sldLayoutId id="2147483661" r:id="rId16"/>
    <p:sldLayoutId id="2147483662" r:id="rId17"/>
    <p:sldLayoutId id="2147483668" r:id="rId18"/>
    <p:sldLayoutId id="2147483664" r:id="rId19"/>
    <p:sldLayoutId id="2147483667" r:id="rId20"/>
    <p:sldLayoutId id="2147483675" r:id="rId21"/>
    <p:sldLayoutId id="2147483676" r:id="rId22"/>
    <p:sldLayoutId id="2147483669" r:id="rId23"/>
    <p:sldLayoutId id="2147483670" r:id="rId24"/>
    <p:sldLayoutId id="2147483673" r:id="rId25"/>
    <p:sldLayoutId id="2147483682" r:id="rId26"/>
    <p:sldLayoutId id="2147483666" r:id="rId27"/>
    <p:sldLayoutId id="2147483674" r:id="rId28"/>
    <p:sldLayoutId id="2147483681" r:id="rId29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b="1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10000"/>
        </a:lnSpc>
        <a:spcBef>
          <a:spcPts val="400"/>
        </a:spcBef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365125" indent="-180975" algn="l" defTabSz="914400" rtl="0" eaLnBrk="1" latinLnBrk="0" hangingPunct="1">
        <a:lnSpc>
          <a:spcPct val="110000"/>
        </a:lnSpc>
        <a:spcBef>
          <a:spcPts val="400"/>
        </a:spcBef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549275" indent="-180975" algn="l" defTabSz="914400" rtl="0" eaLnBrk="1" latinLnBrk="0" hangingPunct="1">
        <a:lnSpc>
          <a:spcPct val="110000"/>
        </a:lnSpc>
        <a:spcBef>
          <a:spcPts val="400"/>
        </a:spcBef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731838" indent="-180975" algn="l" defTabSz="914400" rtl="0" eaLnBrk="1" latinLnBrk="0" hangingPunct="1">
        <a:lnSpc>
          <a:spcPct val="110000"/>
        </a:lnSpc>
        <a:spcBef>
          <a:spcPts val="400"/>
        </a:spcBef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 userDrawn="1">
          <p15:clr>
            <a:srgbClr val="F26B43"/>
          </p15:clr>
        </p15:guide>
        <p15:guide id="2" pos="7333" userDrawn="1">
          <p15:clr>
            <a:srgbClr val="F26B43"/>
          </p15:clr>
        </p15:guide>
        <p15:guide id="4" orient="horz" pos="3838" userDrawn="1">
          <p15:clr>
            <a:srgbClr val="F26B43"/>
          </p15:clr>
        </p15:guide>
        <p15:guide id="5" orient="horz" pos="482" userDrawn="1">
          <p15:clr>
            <a:srgbClr val="F26B43"/>
          </p15:clr>
        </p15:guide>
        <p15:guide id="6" orient="horz" pos="11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6" Type="http://schemas.openxmlformats.org/officeDocument/2006/relationships/image" Target="../media/image12.png"/><Relationship Id="rId5" Type="http://schemas.openxmlformats.org/officeDocument/2006/relationships/hyperlink" Target="https://github.com/duarteocarmo/deepseek-agents-workshop" TargetMode="Externa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099F73-E22F-4FF9-BA80-9821D481E8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6425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099F73-E22F-4FF9-BA80-9821D481E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61C6AA-E169-437F-80EF-010CA95F02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>
                <a:solidFill>
                  <a:srgbClr val="0070C0"/>
                </a:solidFill>
              </a:rPr>
              <a:t>Workshop: Agentic AI with </a:t>
            </a:r>
            <a:r>
              <a:rPr lang="en-US" dirty="0" err="1">
                <a:solidFill>
                  <a:srgbClr val="0070C0"/>
                </a:solidFill>
              </a:rPr>
              <a:t>DeepSeek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23C37F-714E-43C8-8433-1EC5AC6CC4E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y Duarte O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037E3A-4573-4EBC-AFE7-E07F07BC20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6</a:t>
            </a:r>
            <a:r>
              <a:rPr lang="en-US" baseline="30000" dirty="0"/>
              <a:t>th</a:t>
            </a:r>
            <a:r>
              <a:rPr lang="en-US" dirty="0"/>
              <a:t> August 2025</a:t>
            </a:r>
          </a:p>
        </p:txBody>
      </p:sp>
    </p:spTree>
    <p:extLst>
      <p:ext uri="{BB962C8B-B14F-4D97-AF65-F5344CB8AC3E}">
        <p14:creationId xmlns:p14="http://schemas.microsoft.com/office/powerpoint/2010/main" val="3419567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1A509901-97ED-4728-9F12-5A165AE1D4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845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1A509901-97ED-4728-9F12-5A165AE1D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1DE075-0A83-46BB-9274-5BF753809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69CE0-2A7E-4B1D-B325-825E6DB32028}" type="datetime1">
              <a:rPr lang="en-US" smtClean="0"/>
              <a:pPr/>
              <a:t>8/3/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0499BD-DAD0-407C-9169-F1C4A8F0A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FBEC-AD48-4732-A93E-D868E059374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7721B5-B191-41A5-A2A4-03C933CCFD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7888" y="2037762"/>
            <a:ext cx="6552000" cy="903316"/>
          </a:xfrm>
        </p:spPr>
        <p:txBody>
          <a:bodyPr vert="horz"/>
          <a:lstStyle/>
          <a:p>
            <a:r>
              <a:rPr lang="en-AU" dirty="0">
                <a:solidFill>
                  <a:schemeClr val="accent1"/>
                </a:solidFill>
              </a:rPr>
              <a:t>Before</a:t>
            </a:r>
            <a:r>
              <a:rPr lang="en-AU" dirty="0"/>
              <a:t> we start..</a:t>
            </a:r>
            <a:endParaRPr lang="en-AU" dirty="0">
              <a:solidFill>
                <a:schemeClr val="accent1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6C665D5-0B3A-4116-838C-3D44658846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In this workshop, we will learn about building workflows and agents with </a:t>
            </a:r>
            <a:r>
              <a:rPr lang="en-US" dirty="0" err="1"/>
              <a:t>DeepSeek</a:t>
            </a:r>
            <a:r>
              <a:rPr lang="en-US" dirty="0"/>
              <a:t> 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Prerequisites: </a:t>
            </a:r>
            <a:r>
              <a:rPr lang="en-US" dirty="0">
                <a:solidFill>
                  <a:schemeClr val="accent1"/>
                </a:solidFill>
              </a:rPr>
              <a:t>Intermediate knowledge of Python</a:t>
            </a:r>
            <a:r>
              <a:rPr lang="en-US" dirty="0"/>
              <a:t> (we assume you have some level of experience with it)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Duration: </a:t>
            </a:r>
            <a:r>
              <a:rPr lang="en-US" dirty="0">
                <a:solidFill>
                  <a:schemeClr val="accent1"/>
                </a:solidFill>
              </a:rPr>
              <a:t>60 mins </a:t>
            </a:r>
            <a:r>
              <a:rPr lang="en-US" dirty="0"/>
              <a:t>including Q&amp;A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When you’re ready, scan the barcode to get started! 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GitHub link: </a:t>
            </a:r>
            <a:r>
              <a:rPr lang="en-US" dirty="0">
                <a:hlinkClick r:id="rId5"/>
              </a:rPr>
              <a:t>github.com/duarteocarmo/deepseek-agents-workshop</a:t>
            </a:r>
            <a:endParaRPr lang="en-US" dirty="0"/>
          </a:p>
        </p:txBody>
      </p:sp>
      <p:pic>
        <p:nvPicPr>
          <p:cNvPr id="5" name="Picture 4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ED982AE0-B014-B593-2DA4-A853EBB415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28" y="1787204"/>
            <a:ext cx="4025463" cy="402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131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202020"/>
      </a:dk1>
      <a:lt1>
        <a:sysClr val="window" lastClr="FFFFFF"/>
      </a:lt1>
      <a:dk2>
        <a:srgbClr val="202020"/>
      </a:dk2>
      <a:lt2>
        <a:srgbClr val="E8E8E8"/>
      </a:lt2>
      <a:accent1>
        <a:srgbClr val="F97141"/>
      </a:accent1>
      <a:accent2>
        <a:srgbClr val="57B7F7"/>
      </a:accent2>
      <a:accent3>
        <a:srgbClr val="00CD8F"/>
      </a:accent3>
      <a:accent4>
        <a:srgbClr val="2B2B2B"/>
      </a:accent4>
      <a:accent5>
        <a:srgbClr val="4D4D4D"/>
      </a:accent5>
      <a:accent6>
        <a:srgbClr val="FBFBFB"/>
      </a:accent6>
      <a:hlink>
        <a:srgbClr val="F97141"/>
      </a:hlink>
      <a:folHlink>
        <a:srgbClr val="57B7F7"/>
      </a:folHlink>
    </a:clrScheme>
    <a:fontScheme name="Custom 94">
      <a:majorFont>
        <a:latin typeface="Outfit"/>
        <a:ea typeface=""/>
        <a:cs typeface=""/>
      </a:majorFont>
      <a:minorFont>
        <a:latin typeface="Outfi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63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</TotalTime>
  <Words>79</Words>
  <Application>Microsoft Macintosh PowerPoint</Application>
  <PresentationFormat>Widescreen</PresentationFormat>
  <Paragraphs>1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Outfit</vt:lpstr>
      <vt:lpstr>Outfit Light</vt:lpstr>
      <vt:lpstr>Space Mono</vt:lpstr>
      <vt:lpstr>Wingdings</vt:lpstr>
      <vt:lpstr>Office Theme</vt:lpstr>
      <vt:lpstr>think-cell Slide</vt:lpstr>
      <vt:lpstr>Workshop: Agentic AI with DeepSeek</vt:lpstr>
      <vt:lpstr>Before we start.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Bodziach</dc:creator>
  <cp:lastModifiedBy>Duarte O.Carmo</cp:lastModifiedBy>
  <cp:revision>11</cp:revision>
  <dcterms:created xsi:type="dcterms:W3CDTF">2022-04-07T07:35:01Z</dcterms:created>
  <dcterms:modified xsi:type="dcterms:W3CDTF">2025-08-03T15:07:11Z</dcterms:modified>
</cp:coreProperties>
</file>